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theme/theme4.xml" ContentType="application/vnd.openxmlformats-officedocument.theme+xml"/>
  <Override PartName="/ppt/tags/tag39.xml" ContentType="application/vnd.openxmlformats-officedocument.presentationml.tags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theme/theme5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739" r:id="rId2"/>
    <p:sldMasterId id="2147483844" r:id="rId3"/>
    <p:sldMasterId id="2147483858" r:id="rId4"/>
    <p:sldMasterId id="2147484053" r:id="rId5"/>
  </p:sldMasterIdLst>
  <p:notesMasterIdLst>
    <p:notesMasterId r:id="rId12"/>
  </p:notesMasterIdLst>
  <p:sldIdLst>
    <p:sldId id="278" r:id="rId6"/>
    <p:sldId id="2147472842" r:id="rId7"/>
    <p:sldId id="2147472945" r:id="rId8"/>
    <p:sldId id="2147472974" r:id="rId9"/>
    <p:sldId id="2147472975" r:id="rId10"/>
    <p:sldId id="257" r:id="rId11"/>
  </p:sldIdLst>
  <p:sldSz cx="12192000" cy="6858000"/>
  <p:notesSz cx="9144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4D9CF09-383E-5473-7B1B-BDDE5CDCDFC9}" name="Mark Hynes" initials="MH" userId="S::Mark.Hynes@granicus.com::ee47b239-4bb3-4740-88ea-ea2fa89f3f4b" providerId="AD"/>
  <p188:author id="{28F81A0A-7E6C-F71E-2495-EBF99647A2A0}" name="Kate Alley" initials="KA" userId="S::kate.alley@granicus.com::8bf94e40-2693-4d3b-8cc8-27386f1b16bb" providerId="AD"/>
  <p188:author id="{0CDE2E14-B155-AD8B-6BAF-E9DEFEA1B93D}" name="Charlotte Lee" initials="CL" userId="S::charlotte.lee@granicus.com::b0697efa-5c06-4a01-be72-9b764c53b768" providerId="AD"/>
  <p188:author id="{64D64315-84CB-1384-33E1-426E6B68940C}" name="Kelly Burke" initials="KB" userId="S::Kelly.Burke@granicus.com::b19e4b7b-d7d1-442a-9883-0ebf18aded64" providerId="AD"/>
  <p188:author id="{0F1B4D27-ECCD-276F-498B-B95191C2D7E3}" name="Angy Peterson" initials="AP" userId="S::angy.peterson@granicus.com::67331c5c-d59c-4b7e-8a6a-4ad1cc135edd" providerId="AD"/>
  <p188:author id="{72028636-69B8-E11C-1496-B34573B41B54}" name="Sylvia Yang" initials="" userId="S::sylvia.yang@granicus.com::7c77608b-9cc0-42ca-8ea2-71a503575443" providerId="AD"/>
  <p188:author id="{29482780-5B06-3F17-7E1E-F6AD87909545}" name="Will Colston" initials="WC" userId="S::will.colston@granicus.com::77cd3d28-d9c2-49b0-a2bb-178f2c4be632" providerId="AD"/>
  <p188:author id="{BE915CAB-38EF-EAD2-B647-FF365145D724}" name="Allan Rubin" initials="AR" userId="S::allan.rubin@granicus.com::32dca1c5-e4a4-4b5d-99a5-84e72fe836d4" providerId="AD"/>
  <p188:author id="{B42A21B8-A995-CEC8-8E98-AD0AAC85EB39}" name="Jake Sager" initials="JS" userId="S::jake.sager@granicus.com::e851f324-2aa0-4ad0-bc56-31a21c13367f" providerId="AD"/>
  <p188:author id="{51FD69C7-D61A-7710-8DBA-0FC6C464F117}" name="Kelly Burke" initials="KB" userId="S::kelly.burke@granicus.com::b19e4b7b-d7d1-442a-9883-0ebf18aded64" providerId="AD"/>
  <p188:author id="{474A3BEB-6CE4-3825-4E8D-764D996D6557}" name="Suzanne Behrens" initials="SB" userId="S::suzanne.behrens@granicus.com::6bb9c0f4-596a-40a7-a588-7616d211ea7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CA383"/>
    <a:srgbClr val="FF8470"/>
    <a:srgbClr val="58C19A"/>
    <a:srgbClr val="8265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892"/>
    <p:restoredTop sz="88912"/>
  </p:normalViewPr>
  <p:slideViewPr>
    <p:cSldViewPr snapToGrid="0">
      <p:cViewPr>
        <p:scale>
          <a:sx n="101" d="100"/>
          <a:sy n="101" d="100"/>
        </p:scale>
        <p:origin x="344" y="4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microsoft.com/office/2018/10/relationships/authors" Target="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1463" y="143123"/>
            <a:ext cx="8869414" cy="498904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37293" y="5442668"/>
            <a:ext cx="8869414" cy="127220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68611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1763" y="142875"/>
            <a:ext cx="8869362" cy="49895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30A9FE-0C3B-AB48-9772-78366E4EAFD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94225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6C6128-961F-474E-1BC4-065870BBA1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01014D4-23DA-D990-1601-208CC3459DF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31763" y="142875"/>
            <a:ext cx="8869362" cy="498951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B4A6225-96AF-9556-3946-ED0D368E84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FFC0FB-A31B-399E-D00A-6BF37D3967B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6BC1E3-14FB-FC4B-B0F5-E7D80DBF79D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00210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1763" y="142875"/>
            <a:ext cx="8869362" cy="49895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800" i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30A9FE-0C3B-AB48-9772-78366E4EAFD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59772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1763" y="142875"/>
            <a:ext cx="8869362" cy="49895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800" i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30A9FE-0C3B-AB48-9772-78366E4EAFD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86873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1763" y="142875"/>
            <a:ext cx="8869362" cy="49895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800" i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30A9FE-0C3B-AB48-9772-78366E4EAFD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87911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1763" y="142875"/>
            <a:ext cx="8869362" cy="49895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6BC1E3-14FB-FC4B-B0F5-E7D80DBF79DF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5746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7" Type="http://schemas.openxmlformats.org/officeDocument/2006/relationships/image" Target="../media/image21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emf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5.jpeg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32.svg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32.svg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32.svg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32.svg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32.svg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32.svg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32.svg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32.svg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17.xml"/><Relationship Id="rId7" Type="http://schemas.openxmlformats.org/officeDocument/2006/relationships/image" Target="../media/image29.emf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40.sv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43.svg"/><Relationship Id="rId5" Type="http://schemas.openxmlformats.org/officeDocument/2006/relationships/image" Target="../media/image42.svg"/><Relationship Id="rId4" Type="http://schemas.openxmlformats.org/officeDocument/2006/relationships/image" Target="../media/image41.jpeg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1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30.xml"/><Relationship Id="rId7" Type="http://schemas.openxmlformats.org/officeDocument/2006/relationships/image" Target="../media/image29.emf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44.svg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1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43.svg"/><Relationship Id="rId5" Type="http://schemas.openxmlformats.org/officeDocument/2006/relationships/image" Target="../media/image42.svg"/><Relationship Id="rId4" Type="http://schemas.openxmlformats.org/officeDocument/2006/relationships/image" Target="../media/image41.jpeg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Relationship Id="rId4" Type="http://schemas.openxmlformats.org/officeDocument/2006/relationships/image" Target="../media/image32.svg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Relationship Id="rId4" Type="http://schemas.openxmlformats.org/officeDocument/2006/relationships/image" Target="../media/image32.svg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Relationship Id="rId4" Type="http://schemas.openxmlformats.org/officeDocument/2006/relationships/image" Target="../media/image32.sv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Relationship Id="rId4" Type="http://schemas.openxmlformats.org/officeDocument/2006/relationships/image" Target="../media/image32.svg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Relationship Id="rId4" Type="http://schemas.openxmlformats.org/officeDocument/2006/relationships/image" Target="../media/image32.svg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7" Type="http://schemas.openxmlformats.org/officeDocument/2006/relationships/image" Target="../media/image46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5.emf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5.jpeg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4.xml"/></Relationships>
</file>

<file path=ppt/slideLayouts/_rels/slideLayout3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5.jpeg"/></Relationships>
</file>

<file path=ppt/slideLayouts/_rels/slideLayout3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5.jpeg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png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9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4.xml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32.svg"/><Relationship Id="rId4" Type="http://schemas.openxmlformats.org/officeDocument/2006/relationships/image" Target="../media/image31.jpe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7.xml"/><Relationship Id="rId4" Type="http://schemas.openxmlformats.org/officeDocument/2006/relationships/image" Target="../media/image32.svg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8.xml"/><Relationship Id="rId4" Type="http://schemas.openxmlformats.org/officeDocument/2006/relationships/image" Target="../media/image32.svg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9.xml"/><Relationship Id="rId4" Type="http://schemas.openxmlformats.org/officeDocument/2006/relationships/image" Target="../media/image32.svg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0.xml"/><Relationship Id="rId4" Type="http://schemas.openxmlformats.org/officeDocument/2006/relationships/image" Target="../media/image32.svg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1.xml"/><Relationship Id="rId4" Type="http://schemas.openxmlformats.org/officeDocument/2006/relationships/image" Target="../media/image32.svg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2.xml"/><Relationship Id="rId4" Type="http://schemas.openxmlformats.org/officeDocument/2006/relationships/image" Target="../media/image32.svg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3.xml"/><Relationship Id="rId4" Type="http://schemas.openxmlformats.org/officeDocument/2006/relationships/image" Target="../media/image32.svg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54.xml"/></Relationships>
</file>

<file path=ppt/slideLayouts/_rels/slideLayout3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57.xml"/><Relationship Id="rId7" Type="http://schemas.openxmlformats.org/officeDocument/2006/relationships/image" Target="../media/image29.emf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40.svg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58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9.pn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43.svg"/><Relationship Id="rId5" Type="http://schemas.openxmlformats.org/officeDocument/2006/relationships/image" Target="../media/image42.svg"/><Relationship Id="rId4" Type="http://schemas.openxmlformats.org/officeDocument/2006/relationships/image" Target="../media/image41.jpeg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63.xml"/><Relationship Id="rId7" Type="http://schemas.openxmlformats.org/officeDocument/2006/relationships/image" Target="../media/image29.emf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44.svg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64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65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7" Type="http://schemas.openxmlformats.org/officeDocument/2006/relationships/image" Target="../media/image3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emf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535980FD-1B8D-F6F1-3B64-BF3D992FB2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400" y="1191703"/>
            <a:ext cx="2574333" cy="533048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578A23FB-FFD9-0F5E-9D4E-D31707400000}"/>
              </a:ext>
            </a:extLst>
          </p:cNvPr>
          <p:cNvSpPr/>
          <p:nvPr userDrawn="1"/>
        </p:nvSpPr>
        <p:spPr>
          <a:xfrm>
            <a:off x="624263" y="3751217"/>
            <a:ext cx="1512396" cy="73152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047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9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6355B56A-CC40-176A-ACDD-7BFF5CE504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4056" y="4027685"/>
            <a:ext cx="6261215" cy="429635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20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4BF26FE3-040B-2A0D-5CE1-29756A2F53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4425" y="2013036"/>
            <a:ext cx="6321588" cy="1606653"/>
          </a:xfrm>
        </p:spPr>
        <p:txBody>
          <a:bodyPr lIns="0" rIns="0" anchor="b">
            <a:noAutofit/>
          </a:bodyPr>
          <a:lstStyle>
            <a:lvl1pPr algn="l">
              <a:defRPr sz="3600" b="1" spc="3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Main Presentation Header Goes He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2D68D63-E25C-BE7E-0467-708D3C3D56CA}"/>
              </a:ext>
            </a:extLst>
          </p:cNvPr>
          <p:cNvGrpSpPr/>
          <p:nvPr userDrawn="1"/>
        </p:nvGrpSpPr>
        <p:grpSpPr>
          <a:xfrm rot="10800000">
            <a:off x="155943" y="4802440"/>
            <a:ext cx="6709295" cy="6709295"/>
            <a:chOff x="105150" y="-3122465"/>
            <a:chExt cx="5720108" cy="5720108"/>
          </a:xfrm>
        </p:grpSpPr>
        <p:sp>
          <p:nvSpPr>
            <p:cNvPr id="3" name="Chord 2">
              <a:extLst>
                <a:ext uri="{FF2B5EF4-FFF2-40B4-BE49-F238E27FC236}">
                  <a16:creationId xmlns:a16="http://schemas.microsoft.com/office/drawing/2014/main" id="{9E70FBA9-E98D-2B3D-3975-B894749A5FF0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099984"/>
                <a:gd name="adj2" fmla="val 9758148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4" name="Chord 3">
              <a:extLst>
                <a:ext uri="{FF2B5EF4-FFF2-40B4-BE49-F238E27FC236}">
                  <a16:creationId xmlns:a16="http://schemas.microsoft.com/office/drawing/2014/main" id="{86B96E18-3BE9-24A6-B9A4-2C007DAA9C38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379694"/>
                <a:gd name="adj2" fmla="val 9313731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5" name="Chord 4">
              <a:extLst>
                <a:ext uri="{FF2B5EF4-FFF2-40B4-BE49-F238E27FC236}">
                  <a16:creationId xmlns:a16="http://schemas.microsoft.com/office/drawing/2014/main" id="{005EFA3E-C68A-F595-13CC-6E1CAF4D8E45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673024"/>
                <a:gd name="adj2" fmla="val 8811419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B1E65D20-9984-6E4E-61CC-DBDA73412001}"/>
              </a:ext>
            </a:extLst>
          </p:cNvPr>
          <p:cNvGrpSpPr/>
          <p:nvPr userDrawn="1"/>
        </p:nvGrpSpPr>
        <p:grpSpPr>
          <a:xfrm>
            <a:off x="6113028" y="-2990654"/>
            <a:ext cx="6921331" cy="6921331"/>
            <a:chOff x="105150" y="-3122465"/>
            <a:chExt cx="5720108" cy="5720108"/>
          </a:xfrm>
        </p:grpSpPr>
        <p:sp>
          <p:nvSpPr>
            <p:cNvPr id="7" name="Chord 6">
              <a:extLst>
                <a:ext uri="{FF2B5EF4-FFF2-40B4-BE49-F238E27FC236}">
                  <a16:creationId xmlns:a16="http://schemas.microsoft.com/office/drawing/2014/main" id="{5C76E766-FC0A-CFF9-E3C6-7028CE96A95A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20867905"/>
                <a:gd name="adj2" fmla="val 11478846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8" name="Chord 7">
              <a:extLst>
                <a:ext uri="{FF2B5EF4-FFF2-40B4-BE49-F238E27FC236}">
                  <a16:creationId xmlns:a16="http://schemas.microsoft.com/office/drawing/2014/main" id="{56F675D6-4A41-D9D9-9CAB-2473BE7CED57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0769818"/>
                <a:gd name="adj2" fmla="val 11622062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9" name="Chord 8">
              <a:extLst>
                <a:ext uri="{FF2B5EF4-FFF2-40B4-BE49-F238E27FC236}">
                  <a16:creationId xmlns:a16="http://schemas.microsoft.com/office/drawing/2014/main" id="{1DFFD13A-D083-F8A0-89DC-F1D91197228A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656920"/>
                <a:gd name="adj2" fmla="val 11801938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4139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88">
          <p15:clr>
            <a:srgbClr val="FBAE40"/>
          </p15:clr>
        </p15:guide>
        <p15:guide id="4" pos="729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BB1A3ACE-96EE-F4FC-E59F-1689CE09CB89}"/>
              </a:ext>
            </a:extLst>
          </p:cNvPr>
          <p:cNvSpPr/>
          <p:nvPr userDrawn="1"/>
        </p:nvSpPr>
        <p:spPr>
          <a:xfrm>
            <a:off x="-3945326" y="-502038"/>
            <a:ext cx="7890651" cy="7890651"/>
          </a:xfrm>
          <a:prstGeom prst="ellipse">
            <a:avLst/>
          </a:prstGeom>
          <a:solidFill>
            <a:schemeClr val="accent5">
              <a:alpha val="38400"/>
            </a:schemeClr>
          </a:solidFill>
          <a:ln w="4445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8761E293-D9B4-0F86-0B0B-6AA5ED2AE0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153" y="6537008"/>
            <a:ext cx="753859" cy="156096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93DE41-638F-98F6-5536-83B2244FB78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37" y="2173548"/>
            <a:ext cx="7104207" cy="3978275"/>
          </a:xfrm>
        </p:spPr>
        <p:txBody>
          <a:bodyPr lIns="0" rIns="0"/>
          <a:lstStyle>
            <a:lvl1pPr marL="0" indent="0">
              <a:buNone/>
              <a:defRPr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88A9E8B-D116-858A-EC47-80BD6AF2BD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37" y="368472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3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6ED60761-73A6-A05D-E6E1-596B967C8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3" y="1241371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38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B13B303-9934-88D1-F879-E130155052E5}"/>
              </a:ext>
            </a:extLst>
          </p:cNvPr>
          <p:cNvCxnSpPr>
            <a:cxnSpLocks/>
          </p:cNvCxnSpPr>
          <p:nvPr userDrawn="1"/>
        </p:nvCxnSpPr>
        <p:spPr>
          <a:xfrm>
            <a:off x="4457701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505FFAB-B692-3082-CDAD-0716C1937B5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651200" y="-207912"/>
            <a:ext cx="7302399" cy="7302399"/>
          </a:xfrm>
          <a:prstGeom prst="chord">
            <a:avLst>
              <a:gd name="adj1" fmla="val 14891008"/>
              <a:gd name="adj2" fmla="val 14728125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</p:spTree>
    <p:extLst>
      <p:ext uri="{BB962C8B-B14F-4D97-AF65-F5344CB8AC3E}">
        <p14:creationId xmlns:p14="http://schemas.microsoft.com/office/powerpoint/2010/main" val="3850337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808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629"/>
          <a:stretch/>
        </p:blipFill>
        <p:spPr>
          <a:xfrm>
            <a:off x="0" y="0"/>
            <a:ext cx="3953437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-17883" y="0"/>
            <a:ext cx="3953437" cy="6858000"/>
          </a:xfrm>
          <a:prstGeom prst="rect">
            <a:avLst/>
          </a:prstGeom>
          <a:solidFill>
            <a:srgbClr val="D51236">
              <a:alpha val="7098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2168952" y="1655092"/>
            <a:ext cx="3566160" cy="3566160"/>
          </a:xfrm>
          <a:prstGeom prst="arc">
            <a:avLst>
              <a:gd name="adj1" fmla="val 6896465"/>
              <a:gd name="adj2" fmla="val 8818805"/>
            </a:avLst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C5FD2D68-2060-1E2D-2AF0-AC75F6A5380F}"/>
              </a:ext>
            </a:extLst>
          </p:cNvPr>
          <p:cNvSpPr>
            <a:spLocks noChangeAspect="1"/>
          </p:cNvSpPr>
          <p:nvPr userDrawn="1"/>
        </p:nvSpPr>
        <p:spPr>
          <a:xfrm>
            <a:off x="2449654" y="1955899"/>
            <a:ext cx="2971800" cy="29718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FD1A75F9-6602-5301-7392-68323FD6ACD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71315" y="2173584"/>
            <a:ext cx="2528478" cy="253643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2D0A4C88-0868-296B-A427-A0E9FE4F01B7}"/>
              </a:ext>
            </a:extLst>
          </p:cNvPr>
          <p:cNvSpPr/>
          <p:nvPr userDrawn="1"/>
        </p:nvSpPr>
        <p:spPr>
          <a:xfrm>
            <a:off x="2247781" y="1734204"/>
            <a:ext cx="3408218" cy="3408218"/>
          </a:xfrm>
          <a:prstGeom prst="arc">
            <a:avLst>
              <a:gd name="adj1" fmla="val 16195710"/>
              <a:gd name="adj2" fmla="val 19139618"/>
            </a:avLst>
          </a:prstGeom>
          <a:ln w="38100">
            <a:solidFill>
              <a:schemeClr val="accent2">
                <a:alpha val="7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3EE678F-F1A4-5430-C2A7-11B43E0BCCD1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C3D6704F-7411-3CDE-9EBF-CA5B7AC402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577" y="2164793"/>
            <a:ext cx="4351788" cy="2543175"/>
          </a:xfrm>
        </p:spPr>
        <p:txBody>
          <a:bodyPr lIns="0" rIns="0" anchor="ctr">
            <a:normAutofit/>
          </a:bodyPr>
          <a:lstStyle>
            <a:lvl1pPr marL="0" indent="0">
              <a:lnSpc>
                <a:spcPct val="100000"/>
              </a:lnSpc>
              <a:buNone/>
              <a:defRPr sz="3200" b="1" spc="40" baseline="0">
                <a:solidFill>
                  <a:schemeClr val="accent1"/>
                </a:solidFill>
              </a:defRPr>
            </a:lvl1pPr>
            <a:lvl2pPr marL="6351" indent="0">
              <a:lnSpc>
                <a:spcPct val="100000"/>
              </a:lnSpc>
              <a:buNone/>
              <a:tabLst/>
              <a:defRPr sz="2400" spc="40">
                <a:solidFill>
                  <a:schemeClr val="accent1"/>
                </a:solidFill>
              </a:defRPr>
            </a:lvl2pPr>
            <a:lvl3pPr marL="6351" indent="0">
              <a:lnSpc>
                <a:spcPct val="100000"/>
              </a:lnSpc>
              <a:buNone/>
              <a:tabLst/>
              <a:defRPr sz="1800" spc="4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</p:spTree>
    <p:extLst>
      <p:ext uri="{BB962C8B-B14F-4D97-AF65-F5344CB8AC3E}">
        <p14:creationId xmlns:p14="http://schemas.microsoft.com/office/powerpoint/2010/main" val="3219259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4992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0921E300-150A-3068-6A92-48686570DDC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84027" y="21277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4349" y="4235782"/>
            <a:ext cx="4119477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37652" y="4235782"/>
            <a:ext cx="4119477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Arc 2">
            <a:extLst>
              <a:ext uri="{FF2B5EF4-FFF2-40B4-BE49-F238E27FC236}">
                <a16:creationId xmlns:a16="http://schemas.microsoft.com/office/drawing/2014/main" id="{EA8FEC01-A47C-0769-0F0A-45EB5812A7F9}"/>
              </a:ext>
            </a:extLst>
          </p:cNvPr>
          <p:cNvSpPr/>
          <p:nvPr userDrawn="1"/>
        </p:nvSpPr>
        <p:spPr>
          <a:xfrm>
            <a:off x="2367317" y="19137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D9DD3650-AB75-F631-B1DE-B6F1D86C5C07}"/>
              </a:ext>
            </a:extLst>
          </p:cNvPr>
          <p:cNvSpPr/>
          <p:nvPr userDrawn="1"/>
        </p:nvSpPr>
        <p:spPr>
          <a:xfrm>
            <a:off x="2367317" y="19137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A6DF1E54-F4A1-E83F-8FBA-19DDE5AAC86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890500" y="21277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248BFC27-9417-BC11-7243-27892505071D}"/>
              </a:ext>
            </a:extLst>
          </p:cNvPr>
          <p:cNvSpPr/>
          <p:nvPr userDrawn="1"/>
        </p:nvSpPr>
        <p:spPr>
          <a:xfrm>
            <a:off x="7673790" y="19137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rc 7">
            <a:extLst>
              <a:ext uri="{FF2B5EF4-FFF2-40B4-BE49-F238E27FC236}">
                <a16:creationId xmlns:a16="http://schemas.microsoft.com/office/drawing/2014/main" id="{6F8AD76B-4766-500E-E593-975A7F1AACB1}"/>
              </a:ext>
            </a:extLst>
          </p:cNvPr>
          <p:cNvSpPr/>
          <p:nvPr userDrawn="1"/>
        </p:nvSpPr>
        <p:spPr>
          <a:xfrm>
            <a:off x="7673790" y="19137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8DF7DDA-BEB5-DE65-047F-91D652267391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9" name="Picture 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B2D77741-2C46-4293-9116-EE8D58D727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952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0476" y="4235783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5313" y="4235784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00150" y="4235782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865EFAE0-675D-E4C9-D033-8A31F875BA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99251" y="20198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3" name="Arc 2">
            <a:extLst>
              <a:ext uri="{FF2B5EF4-FFF2-40B4-BE49-F238E27FC236}">
                <a16:creationId xmlns:a16="http://schemas.microsoft.com/office/drawing/2014/main" id="{7845045A-9483-5D3B-15A3-4CF7F6C7FA6E}"/>
              </a:ext>
            </a:extLst>
          </p:cNvPr>
          <p:cNvSpPr/>
          <p:nvPr userDrawn="1"/>
        </p:nvSpPr>
        <p:spPr>
          <a:xfrm>
            <a:off x="1382541" y="18058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21F4F86A-84AA-A12E-2D21-A90F5EE6C440}"/>
              </a:ext>
            </a:extLst>
          </p:cNvPr>
          <p:cNvSpPr/>
          <p:nvPr userDrawn="1"/>
        </p:nvSpPr>
        <p:spPr>
          <a:xfrm>
            <a:off x="1382541" y="18058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2355948A-074D-0627-025D-E49F0D47260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244088" y="20198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72BB7351-96C7-2250-6CBB-28EBF85083B0}"/>
              </a:ext>
            </a:extLst>
          </p:cNvPr>
          <p:cNvSpPr/>
          <p:nvPr userDrawn="1"/>
        </p:nvSpPr>
        <p:spPr>
          <a:xfrm>
            <a:off x="5027378" y="18058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D47057DB-80B0-654D-90EE-BB897C8F3FA9}"/>
              </a:ext>
            </a:extLst>
          </p:cNvPr>
          <p:cNvSpPr/>
          <p:nvPr userDrawn="1"/>
        </p:nvSpPr>
        <p:spPr>
          <a:xfrm>
            <a:off x="5027378" y="18058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4A3248EA-BA76-20C7-B18E-B6A2B03F94D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888925" y="20198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DF9EF6AA-BCCF-16BA-1338-495BC4F6C617}"/>
              </a:ext>
            </a:extLst>
          </p:cNvPr>
          <p:cNvSpPr/>
          <p:nvPr userDrawn="1"/>
        </p:nvSpPr>
        <p:spPr>
          <a:xfrm>
            <a:off x="8672215" y="18058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Arc 17">
            <a:extLst>
              <a:ext uri="{FF2B5EF4-FFF2-40B4-BE49-F238E27FC236}">
                <a16:creationId xmlns:a16="http://schemas.microsoft.com/office/drawing/2014/main" id="{4CF23B48-93C8-82C3-A456-6039B56FA1D5}"/>
              </a:ext>
            </a:extLst>
          </p:cNvPr>
          <p:cNvSpPr/>
          <p:nvPr userDrawn="1"/>
        </p:nvSpPr>
        <p:spPr>
          <a:xfrm>
            <a:off x="8672215" y="18058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DD4DFE0-97B4-36F6-A73C-F1F9C481908D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2A78E71D-C7E5-1F0E-EF17-679E9230F4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233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082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30552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2022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3493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916B36FD-E9C7-0EB7-4644-B045FADB85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9280" y="203195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4ED6FD4A-B9F9-0837-DB72-5C770519EEF2}"/>
              </a:ext>
            </a:extLst>
          </p:cNvPr>
          <p:cNvSpPr/>
          <p:nvPr userDrawn="1"/>
        </p:nvSpPr>
        <p:spPr>
          <a:xfrm>
            <a:off x="832570" y="1817943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3879B161-1AE2-FADA-334A-EFF2705442B2}"/>
              </a:ext>
            </a:extLst>
          </p:cNvPr>
          <p:cNvSpPr/>
          <p:nvPr userDrawn="1"/>
        </p:nvSpPr>
        <p:spPr>
          <a:xfrm>
            <a:off x="832570" y="1817943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7328D67A-6990-6860-7D63-8EBD5F23BAC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50750" y="203195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2ED2785D-F10D-C3F1-CD79-DDF830F565C7}"/>
              </a:ext>
            </a:extLst>
          </p:cNvPr>
          <p:cNvSpPr/>
          <p:nvPr userDrawn="1"/>
        </p:nvSpPr>
        <p:spPr>
          <a:xfrm>
            <a:off x="3634040" y="1817943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D57C4C20-7530-E470-7383-AE41F046A1D7}"/>
              </a:ext>
            </a:extLst>
          </p:cNvPr>
          <p:cNvSpPr/>
          <p:nvPr userDrawn="1"/>
        </p:nvSpPr>
        <p:spPr>
          <a:xfrm>
            <a:off x="3634040" y="1817943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D32EAB26-5370-6E5A-64B1-4E63CC98E0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52220" y="203195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C0AD66CC-EC9B-A4CD-A7B9-42ED1646CB6C}"/>
              </a:ext>
            </a:extLst>
          </p:cNvPr>
          <p:cNvSpPr/>
          <p:nvPr userDrawn="1"/>
        </p:nvSpPr>
        <p:spPr>
          <a:xfrm>
            <a:off x="6435510" y="1817943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Arc 22">
            <a:extLst>
              <a:ext uri="{FF2B5EF4-FFF2-40B4-BE49-F238E27FC236}">
                <a16:creationId xmlns:a16="http://schemas.microsoft.com/office/drawing/2014/main" id="{6E724543-4743-391D-133C-C13841B63EA8}"/>
              </a:ext>
            </a:extLst>
          </p:cNvPr>
          <p:cNvSpPr/>
          <p:nvPr userDrawn="1"/>
        </p:nvSpPr>
        <p:spPr>
          <a:xfrm>
            <a:off x="6435510" y="1817943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A422CF18-5A3F-9CEA-0302-225E0F8673C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453691" y="203195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5" name="Arc 24">
            <a:extLst>
              <a:ext uri="{FF2B5EF4-FFF2-40B4-BE49-F238E27FC236}">
                <a16:creationId xmlns:a16="http://schemas.microsoft.com/office/drawing/2014/main" id="{77D2335B-E767-A773-6A8A-16A2CC76473A}"/>
              </a:ext>
            </a:extLst>
          </p:cNvPr>
          <p:cNvSpPr/>
          <p:nvPr userDrawn="1"/>
        </p:nvSpPr>
        <p:spPr>
          <a:xfrm>
            <a:off x="9236981" y="1817943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Arc 25">
            <a:extLst>
              <a:ext uri="{FF2B5EF4-FFF2-40B4-BE49-F238E27FC236}">
                <a16:creationId xmlns:a16="http://schemas.microsoft.com/office/drawing/2014/main" id="{4232EF04-DFEA-B19B-2994-47F6D5F805CF}"/>
              </a:ext>
            </a:extLst>
          </p:cNvPr>
          <p:cNvSpPr/>
          <p:nvPr userDrawn="1"/>
        </p:nvSpPr>
        <p:spPr>
          <a:xfrm>
            <a:off x="9236981" y="1817943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0DCAA4F-9776-70FE-CFCB-65AFAAC3A1F7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993F3D21-E811-18C1-7DE0-F951D98F48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9046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722412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Footer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E520A970-EF63-E4ED-6691-B1808C9E1D18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3" name="Picture 2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FF0B31D1-EBAF-417E-4224-179766FFA9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96BA53DF-8BD4-25EE-06AF-C83A89C72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29480088-3C13-0F39-F70D-4A1DA25245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A4500DD-92B5-AD95-74F3-AA3BC5CD9F1D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11181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id="{8E6307E9-38D4-6EDA-12AC-65A4378AEFA6}"/>
              </a:ext>
            </a:extLst>
          </p:cNvPr>
          <p:cNvSpPr/>
          <p:nvPr userDrawn="1"/>
        </p:nvSpPr>
        <p:spPr>
          <a:xfrm>
            <a:off x="1925142" y="2385039"/>
            <a:ext cx="3314847" cy="3314847"/>
          </a:xfrm>
          <a:prstGeom prst="ellipse">
            <a:avLst/>
          </a:prstGeom>
          <a:solidFill>
            <a:srgbClr val="55A58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0921E300-150A-3068-6A92-48686570DDC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113983" y="2569262"/>
            <a:ext cx="2937163" cy="2946400"/>
          </a:xfrm>
          <a:prstGeom prst="ellipse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/>
          <a:p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D5AB2659-DAE5-EA62-EE52-D60659DB0D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565596"/>
            <a:ext cx="10972800" cy="507831"/>
          </a:xfrm>
        </p:spPr>
        <p:txBody>
          <a:bodyPr wrap="square" anchor="b">
            <a:spAutoFit/>
          </a:bodyPr>
          <a:lstStyle>
            <a:lvl1pPr algn="ctr">
              <a:defRPr sz="3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to keep one line if possib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3C831053-7667-3331-CC4C-7268C4E2270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1270896"/>
            <a:ext cx="10972800" cy="369332"/>
          </a:xfrm>
        </p:spPr>
        <p:txBody>
          <a:bodyPr wrap="square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4D0DA39-B322-236F-0B8D-C1F2640F72C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1158465"/>
            <a:ext cx="170584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02448" y="2770875"/>
            <a:ext cx="5579952" cy="2543175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b="1">
                <a:solidFill>
                  <a:schemeClr val="accent1"/>
                </a:solidFill>
              </a:defRPr>
            </a:lvl1pPr>
            <a:lvl2pPr marL="6351" indent="0">
              <a:lnSpc>
                <a:spcPct val="100000"/>
              </a:lnSpc>
              <a:buNone/>
              <a:tabLst/>
              <a:defRPr sz="2000">
                <a:solidFill>
                  <a:schemeClr val="accent1"/>
                </a:solidFill>
              </a:defRPr>
            </a:lvl2pPr>
            <a:lvl3pPr marL="6351" indent="0">
              <a:lnSpc>
                <a:spcPct val="100000"/>
              </a:lnSpc>
              <a:buNone/>
              <a:tabLst/>
              <a:defRPr sz="160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Title</a:t>
            </a:r>
          </a:p>
          <a:p>
            <a:pPr lvl="1"/>
            <a:r>
              <a:rPr lang="en-US"/>
              <a:t>Speaker 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4E256D6E-20C1-4B3E-3E45-82D8C5B7AD79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5" name="Picture 4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EB6DEE1A-7767-AE79-1479-0E27A082EF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859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B938C31-136F-E3FB-281A-3A9C76D977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714" t="-355" r="-937" b="57158"/>
          <a:stretch/>
        </p:blipFill>
        <p:spPr>
          <a:xfrm>
            <a:off x="0" y="4386656"/>
            <a:ext cx="4704080" cy="247134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AE647DC-5977-5FDE-D0BC-58A33AB621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55263" r="11846"/>
          <a:stretch/>
        </p:blipFill>
        <p:spPr>
          <a:xfrm>
            <a:off x="7294880" y="0"/>
            <a:ext cx="4897120" cy="2485259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A408DD9-D3F6-CF7D-63E6-5B0704F1AB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3987" y="3155178"/>
            <a:ext cx="8244027" cy="553998"/>
          </a:xfrm>
        </p:spPr>
        <p:txBody>
          <a:bodyPr wrap="square" lIns="0" rIns="0" anchor="ctr">
            <a:spAutoFit/>
          </a:bodyPr>
          <a:lstStyle>
            <a:lvl1pPr algn="ctr">
              <a:lnSpc>
                <a:spcPct val="100000"/>
              </a:lnSpc>
              <a:defRPr sz="3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3429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>
            <a:extLst>
              <a:ext uri="{FF2B5EF4-FFF2-40B4-BE49-F238E27FC236}">
                <a16:creationId xmlns:a16="http://schemas.microsoft.com/office/drawing/2014/main" id="{F2E01A5F-CFD5-6ACC-749D-FE85CA8A087F}"/>
              </a:ext>
            </a:extLst>
          </p:cNvPr>
          <p:cNvGrpSpPr/>
          <p:nvPr userDrawn="1"/>
        </p:nvGrpSpPr>
        <p:grpSpPr>
          <a:xfrm>
            <a:off x="5681270" y="302627"/>
            <a:ext cx="6267156" cy="6267156"/>
            <a:chOff x="4239686" y="333300"/>
            <a:chExt cx="4700367" cy="4700367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B64A0D2A-373A-7719-3B17-0D6B51577171}"/>
                </a:ext>
              </a:extLst>
            </p:cNvPr>
            <p:cNvSpPr/>
            <p:nvPr userDrawn="1"/>
          </p:nvSpPr>
          <p:spPr>
            <a:xfrm>
              <a:off x="4239686" y="333300"/>
              <a:ext cx="4700367" cy="4700367"/>
            </a:xfrm>
            <a:prstGeom prst="ellipse">
              <a:avLst/>
            </a:prstGeom>
            <a:solidFill>
              <a:schemeClr val="accent2">
                <a:alpha val="4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A952CF0-FC0B-E391-6F86-F7C943EA59A1}"/>
                </a:ext>
              </a:extLst>
            </p:cNvPr>
            <p:cNvSpPr/>
            <p:nvPr userDrawn="1"/>
          </p:nvSpPr>
          <p:spPr>
            <a:xfrm>
              <a:off x="4642353" y="735967"/>
              <a:ext cx="3895032" cy="3895032"/>
            </a:xfrm>
            <a:prstGeom prst="ellipse">
              <a:avLst/>
            </a:prstGeom>
            <a:solidFill>
              <a:schemeClr val="accent2">
                <a:alpha val="4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A9335B6E-3356-76DF-A18D-25E5609184C7}"/>
                </a:ext>
              </a:extLst>
            </p:cNvPr>
            <p:cNvSpPr/>
            <p:nvPr userDrawn="1"/>
          </p:nvSpPr>
          <p:spPr>
            <a:xfrm>
              <a:off x="5111481" y="1205095"/>
              <a:ext cx="2956776" cy="2956776"/>
            </a:xfrm>
            <a:prstGeom prst="ellipse">
              <a:avLst/>
            </a:prstGeom>
            <a:solidFill>
              <a:schemeClr val="accent2">
                <a:alpha val="4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B5A9E4D-0D92-5ED2-F736-186687CB9B3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816186" y="2005819"/>
            <a:ext cx="3997325" cy="2693987"/>
          </a:xfrm>
          <a:solidFill>
            <a:schemeClr val="tx1">
              <a:lumMod val="85000"/>
              <a:lumOff val="15000"/>
            </a:schemeClr>
          </a:solidFill>
        </p:spPr>
        <p:txBody>
          <a:bodyPr anchor="ctr"/>
          <a:lstStyle>
            <a:lvl1pPr marL="0" indent="0" algn="ctr">
              <a:buFont typeface="+mj-lt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or drag and drop to add a photo he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A9863EB-9441-BA9A-FFD4-53ACF01937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25949"/>
            <a:ext cx="4901739" cy="647479"/>
          </a:xfrm>
        </p:spPr>
        <p:txBody>
          <a:bodyPr anchor="b">
            <a:normAutofit/>
          </a:bodyPr>
          <a:lstStyle>
            <a:lvl1pPr marL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EE68DFBF-17CA-0739-79DF-2440B97548E6}"/>
              </a:ext>
            </a:extLst>
          </p:cNvPr>
          <p:cNvSpPr>
            <a:spLocks noGrp="1"/>
          </p:cNvSpPr>
          <p:nvPr>
            <p:ph type="subTitle" idx="11" hasCustomPrompt="1"/>
          </p:nvPr>
        </p:nvSpPr>
        <p:spPr>
          <a:xfrm>
            <a:off x="609600" y="1270896"/>
            <a:ext cx="4975723" cy="429635"/>
          </a:xfrm>
        </p:spPr>
        <p:txBody>
          <a:bodyPr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EBBA20E-019A-2171-093E-3C27A5DC1DB7}"/>
              </a:ext>
            </a:extLst>
          </p:cNvPr>
          <p:cNvCxnSpPr>
            <a:cxnSpLocks/>
          </p:cNvCxnSpPr>
          <p:nvPr userDrawn="1"/>
        </p:nvCxnSpPr>
        <p:spPr>
          <a:xfrm>
            <a:off x="609601" y="1143951"/>
            <a:ext cx="170584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E386C030-BFEB-D345-347F-47BE7D01D924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EC6927A1-766E-1772-29E6-E7CCA318AC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991372"/>
            <a:ext cx="4975722" cy="4108639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lang="en-US" sz="2400"/>
              <a:t>Click to edit text</a:t>
            </a:r>
          </a:p>
          <a:p>
            <a:pPr marL="406390" lvl="1" indent="-242882"/>
            <a:r>
              <a:rPr lang="en-US" sz="2000"/>
              <a:t>Second level</a:t>
            </a:r>
          </a:p>
          <a:p>
            <a:pPr marL="744520" lvl="2" indent="-220657"/>
            <a:r>
              <a:rPr lang="en-US" sz="1800"/>
              <a:t>Third level</a:t>
            </a:r>
          </a:p>
          <a:p>
            <a:pPr marL="1206470" lvl="3" indent="-234945"/>
            <a:r>
              <a:rPr lang="en-US" sz="1600"/>
              <a:t>Fourth level</a:t>
            </a:r>
          </a:p>
          <a:p>
            <a:pPr marL="1716045" lvl="4" indent="-227008"/>
            <a:r>
              <a:rPr lang="en-US" sz="1600"/>
              <a:t>Fifth level</a:t>
            </a:r>
          </a:p>
        </p:txBody>
      </p:sp>
      <p:pic>
        <p:nvPicPr>
          <p:cNvPr id="3" name="Picture 2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FB672482-DA92-4BF3-DD97-0AC5362215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440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763ACAB-1522-193C-3DDA-37705A61E9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65"/>
          <a:stretch/>
        </p:blipFill>
        <p:spPr>
          <a:xfrm>
            <a:off x="5710845" y="2328611"/>
            <a:ext cx="6548847" cy="4567135"/>
          </a:xfrm>
          <a:prstGeom prst="rect">
            <a:avLst/>
          </a:prstGeom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B5A9E4D-0D92-5ED2-F736-186687CB9B3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10942" y="1250811"/>
            <a:ext cx="2348653" cy="4354232"/>
          </a:xfrm>
          <a:solidFill>
            <a:schemeClr val="tx1">
              <a:lumMod val="85000"/>
              <a:lumOff val="15000"/>
            </a:schemeClr>
          </a:solidFill>
        </p:spPr>
        <p:txBody>
          <a:bodyPr>
            <a:normAutofit/>
          </a:bodyPr>
          <a:lstStyle>
            <a:lvl1pPr marL="0" indent="0" algn="ctr">
              <a:buFont typeface="Courier New" panose="02070309020205020404" pitchFamily="49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or drag and drop to add a photo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84051A-F5E8-B8E9-42DB-D54E1877C3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25949"/>
            <a:ext cx="4901739" cy="647479"/>
          </a:xfrm>
        </p:spPr>
        <p:txBody>
          <a:bodyPr anchor="b">
            <a:normAutofit/>
          </a:bodyPr>
          <a:lstStyle>
            <a:lvl1pPr marL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EF8B57CF-7189-F8B7-8FAC-F58B7B42FC7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991372"/>
            <a:ext cx="4975722" cy="4108639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lang="en-US" sz="2400"/>
              <a:t>Click to edit text</a:t>
            </a:r>
          </a:p>
          <a:p>
            <a:pPr marL="406390" lvl="1" indent="-242882"/>
            <a:r>
              <a:rPr lang="en-US" sz="2000"/>
              <a:t>Second level</a:t>
            </a:r>
          </a:p>
          <a:p>
            <a:pPr marL="744520" lvl="2" indent="-220657"/>
            <a:r>
              <a:rPr lang="en-US" sz="1800"/>
              <a:t>Third level</a:t>
            </a:r>
          </a:p>
          <a:p>
            <a:pPr marL="1206470" lvl="3" indent="-234945"/>
            <a:r>
              <a:rPr lang="en-US" sz="1600"/>
              <a:t>Fourth level</a:t>
            </a:r>
          </a:p>
          <a:p>
            <a:pPr marL="1716045" lvl="4" indent="-227008"/>
            <a:r>
              <a:rPr lang="en-US" sz="160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BE5355E-61BB-A1AD-AF31-8C88AE18AFDF}"/>
              </a:ext>
            </a:extLst>
          </p:cNvPr>
          <p:cNvCxnSpPr>
            <a:cxnSpLocks/>
          </p:cNvCxnSpPr>
          <p:nvPr userDrawn="1"/>
        </p:nvCxnSpPr>
        <p:spPr>
          <a:xfrm>
            <a:off x="609601" y="1143951"/>
            <a:ext cx="170584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2" name="Subtitle 2">
            <a:extLst>
              <a:ext uri="{FF2B5EF4-FFF2-40B4-BE49-F238E27FC236}">
                <a16:creationId xmlns:a16="http://schemas.microsoft.com/office/drawing/2014/main" id="{D096D4C4-A273-CCF1-6CED-146BBAD57BDF}"/>
              </a:ext>
            </a:extLst>
          </p:cNvPr>
          <p:cNvSpPr>
            <a:spLocks noGrp="1"/>
          </p:cNvSpPr>
          <p:nvPr>
            <p:ph type="subTitle" idx="11" hasCustomPrompt="1"/>
          </p:nvPr>
        </p:nvSpPr>
        <p:spPr>
          <a:xfrm>
            <a:off x="609600" y="1270896"/>
            <a:ext cx="4975723" cy="429635"/>
          </a:xfrm>
        </p:spPr>
        <p:txBody>
          <a:bodyPr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C43C367-CAEE-8D03-057A-26117CF23E48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3" name="Picture 2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323B81D9-2553-EFFA-1B4C-B5775552BE7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930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BB1A3ACE-96EE-F4FC-E59F-1689CE09CB89}"/>
              </a:ext>
            </a:extLst>
          </p:cNvPr>
          <p:cNvSpPr/>
          <p:nvPr userDrawn="1"/>
        </p:nvSpPr>
        <p:spPr>
          <a:xfrm>
            <a:off x="-3945326" y="-502038"/>
            <a:ext cx="7890651" cy="7890651"/>
          </a:xfrm>
          <a:prstGeom prst="ellipse">
            <a:avLst/>
          </a:prstGeom>
          <a:solidFill>
            <a:schemeClr val="accent4">
              <a:alpha val="38400"/>
            </a:schemeClr>
          </a:solidFill>
          <a:ln w="4445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8761E293-D9B4-0F86-0B0B-6AA5ED2AE0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153" y="6537008"/>
            <a:ext cx="753859" cy="156096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93DE41-638F-98F6-5536-83B2244FB78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37" y="2173548"/>
            <a:ext cx="7104207" cy="3978275"/>
          </a:xfrm>
        </p:spPr>
        <p:txBody>
          <a:bodyPr lIns="0" rIns="0"/>
          <a:lstStyle>
            <a:lvl1pPr marL="0" indent="0">
              <a:buNone/>
              <a:defRPr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88A9E8B-D116-858A-EC47-80BD6AF2BD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37" y="368472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3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6ED60761-73A6-A05D-E6E1-596B967C8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3" y="1241371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38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B13B303-9934-88D1-F879-E130155052E5}"/>
              </a:ext>
            </a:extLst>
          </p:cNvPr>
          <p:cNvCxnSpPr>
            <a:cxnSpLocks/>
          </p:cNvCxnSpPr>
          <p:nvPr userDrawn="1"/>
        </p:nvCxnSpPr>
        <p:spPr>
          <a:xfrm>
            <a:off x="4457701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505FFAB-B692-3082-CDAD-0716C1937B5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651200" y="-207912"/>
            <a:ext cx="7302399" cy="7302399"/>
          </a:xfrm>
          <a:prstGeom prst="chord">
            <a:avLst>
              <a:gd name="adj1" fmla="val 14891008"/>
              <a:gd name="adj2" fmla="val 14728125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</p:spTree>
    <p:extLst>
      <p:ext uri="{BB962C8B-B14F-4D97-AF65-F5344CB8AC3E}">
        <p14:creationId xmlns:p14="http://schemas.microsoft.com/office/powerpoint/2010/main" val="78919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808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F1B9A8F4-FF2A-C17D-636C-DF4EF9F81BE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9" y="-12494"/>
            <a:ext cx="7008812" cy="6857999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FA51DE-7532-C7A0-7644-BD29DE2944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425949"/>
            <a:ext cx="4573588" cy="647479"/>
          </a:xfrm>
        </p:spPr>
        <p:txBody>
          <a:bodyPr lIns="0" rIns="0" anchor="b">
            <a:normAutofit/>
          </a:bodyPr>
          <a:lstStyle>
            <a:lvl1pPr marL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9C7A9A-C71F-0AD7-C087-5ED72221F9A1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9600" y="1329888"/>
            <a:ext cx="4573589" cy="429635"/>
          </a:xfrm>
        </p:spPr>
        <p:txBody>
          <a:bodyPr lIns="0" rIns="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4" name="Text Placeholder 16">
            <a:extLst>
              <a:ext uri="{FF2B5EF4-FFF2-40B4-BE49-F238E27FC236}">
                <a16:creationId xmlns:a16="http://schemas.microsoft.com/office/drawing/2014/main" id="{BBF5C10D-C295-CCC8-9110-4F1E3A22CF1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8653" y="2117042"/>
            <a:ext cx="4573588" cy="4173400"/>
          </a:xfrm>
        </p:spPr>
        <p:txBody>
          <a:bodyPr lIns="0" rIns="0"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accent1"/>
                </a:solidFill>
              </a:defRPr>
            </a:lvl5pPr>
          </a:lstStyle>
          <a:p>
            <a:r>
              <a:rPr lang="en-US" sz="2400"/>
              <a:t>Click to edit text</a:t>
            </a:r>
          </a:p>
          <a:p>
            <a:pPr marL="406390" lvl="1" indent="-242882"/>
            <a:r>
              <a:rPr lang="en-US" sz="2000"/>
              <a:t>Second level</a:t>
            </a:r>
          </a:p>
          <a:p>
            <a:pPr marL="744520" lvl="2" indent="-220657"/>
            <a:r>
              <a:rPr lang="en-US" sz="1800"/>
              <a:t>Third level</a:t>
            </a:r>
          </a:p>
          <a:p>
            <a:pPr marL="1206470" lvl="3" indent="-234945"/>
            <a:r>
              <a:rPr lang="en-US" sz="1600"/>
              <a:t>Fourth level</a:t>
            </a:r>
          </a:p>
          <a:p>
            <a:pPr marL="1716045" lvl="4" indent="-227008"/>
            <a:r>
              <a:rPr lang="en-US" sz="1600"/>
              <a:t>Fifth lev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2D62C7E-36C2-CF50-074B-6EF09363533A}"/>
              </a:ext>
            </a:extLst>
          </p:cNvPr>
          <p:cNvCxnSpPr>
            <a:cxnSpLocks/>
          </p:cNvCxnSpPr>
          <p:nvPr userDrawn="1"/>
        </p:nvCxnSpPr>
        <p:spPr>
          <a:xfrm>
            <a:off x="609601" y="1143951"/>
            <a:ext cx="170584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7" name="Picture 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6890C071-7CFC-7FB1-51E7-1DF1A1FD2E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143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E792C904-6D3F-7049-E16B-A517431BA00A}"/>
              </a:ext>
            </a:extLst>
          </p:cNvPr>
          <p:cNvGrpSpPr/>
          <p:nvPr userDrawn="1"/>
        </p:nvGrpSpPr>
        <p:grpSpPr>
          <a:xfrm>
            <a:off x="2111936" y="1946571"/>
            <a:ext cx="7994074" cy="3244839"/>
            <a:chOff x="2112828" y="2299855"/>
            <a:chExt cx="7994074" cy="3244839"/>
          </a:xfrm>
        </p:grpSpPr>
        <p:sp>
          <p:nvSpPr>
            <p:cNvPr id="16" name="Donut 1">
              <a:extLst>
                <a:ext uri="{FF2B5EF4-FFF2-40B4-BE49-F238E27FC236}">
                  <a16:creationId xmlns:a16="http://schemas.microsoft.com/office/drawing/2014/main" id="{29EAA267-F1DE-E6D7-E14F-DE04912AEB1E}"/>
                </a:ext>
              </a:extLst>
            </p:cNvPr>
            <p:cNvSpPr/>
            <p:nvPr/>
          </p:nvSpPr>
          <p:spPr>
            <a:xfrm>
              <a:off x="2112828" y="2299855"/>
              <a:ext cx="2258290" cy="2258290"/>
            </a:xfrm>
            <a:prstGeom prst="donut">
              <a:avLst/>
            </a:prstGeom>
            <a:solidFill>
              <a:srgbClr val="E46A4C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Donut 2">
              <a:extLst>
                <a:ext uri="{FF2B5EF4-FFF2-40B4-BE49-F238E27FC236}">
                  <a16:creationId xmlns:a16="http://schemas.microsoft.com/office/drawing/2014/main" id="{AAF79A26-6B45-6BAE-29DB-7B84348947F2}"/>
                </a:ext>
              </a:extLst>
            </p:cNvPr>
            <p:cNvSpPr/>
            <p:nvPr/>
          </p:nvSpPr>
          <p:spPr>
            <a:xfrm>
              <a:off x="4024756" y="2299855"/>
              <a:ext cx="2258290" cy="2258290"/>
            </a:xfrm>
            <a:prstGeom prst="donut">
              <a:avLst/>
            </a:prstGeom>
            <a:solidFill>
              <a:srgbClr val="449FD3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8" name="Donut 3">
              <a:extLst>
                <a:ext uri="{FF2B5EF4-FFF2-40B4-BE49-F238E27FC236}">
                  <a16:creationId xmlns:a16="http://schemas.microsoft.com/office/drawing/2014/main" id="{292A2CE3-9EBB-D39F-4FA3-704CEE159F80}"/>
                </a:ext>
              </a:extLst>
            </p:cNvPr>
            <p:cNvSpPr/>
            <p:nvPr/>
          </p:nvSpPr>
          <p:spPr>
            <a:xfrm>
              <a:off x="5936684" y="2299855"/>
              <a:ext cx="2258290" cy="2258290"/>
            </a:xfrm>
            <a:prstGeom prst="donut">
              <a:avLst/>
            </a:prstGeom>
            <a:solidFill>
              <a:srgbClr val="EF2745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9" name="Donut 4">
              <a:extLst>
                <a:ext uri="{FF2B5EF4-FFF2-40B4-BE49-F238E27FC236}">
                  <a16:creationId xmlns:a16="http://schemas.microsoft.com/office/drawing/2014/main" id="{F07FC13F-13EA-A422-8F4D-28D1FBE9B62C}"/>
                </a:ext>
              </a:extLst>
            </p:cNvPr>
            <p:cNvSpPr/>
            <p:nvPr/>
          </p:nvSpPr>
          <p:spPr>
            <a:xfrm>
              <a:off x="7848612" y="2299855"/>
              <a:ext cx="2258290" cy="2258290"/>
            </a:xfrm>
            <a:prstGeom prst="donut">
              <a:avLst/>
            </a:prstGeom>
            <a:solidFill>
              <a:srgbClr val="55A585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F374D1B1-1B86-E296-8897-B6A1A6EA9ED0}"/>
                </a:ext>
              </a:extLst>
            </p:cNvPr>
            <p:cNvCxnSpPr>
              <a:stCxn id="16" idx="4"/>
            </p:cNvCxnSpPr>
            <p:nvPr/>
          </p:nvCxnSpPr>
          <p:spPr>
            <a:xfrm>
              <a:off x="3241973" y="4558145"/>
              <a:ext cx="13845" cy="900546"/>
            </a:xfrm>
            <a:prstGeom prst="line">
              <a:avLst/>
            </a:prstGeom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86FB087E-0C64-A923-9DCD-D3C29022BDCE}"/>
                </a:ext>
              </a:extLst>
            </p:cNvPr>
            <p:cNvCxnSpPr/>
            <p:nvPr/>
          </p:nvCxnSpPr>
          <p:spPr>
            <a:xfrm>
              <a:off x="5195464" y="4558145"/>
              <a:ext cx="13845" cy="900546"/>
            </a:xfrm>
            <a:prstGeom prst="line">
              <a:avLst/>
            </a:prstGeom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A4CA9070-7D2A-E86F-D360-2781F6EDDB48}"/>
                </a:ext>
              </a:extLst>
            </p:cNvPr>
            <p:cNvCxnSpPr/>
            <p:nvPr/>
          </p:nvCxnSpPr>
          <p:spPr>
            <a:xfrm>
              <a:off x="7135100" y="4558145"/>
              <a:ext cx="13845" cy="900546"/>
            </a:xfrm>
            <a:prstGeom prst="line">
              <a:avLst/>
            </a:prstGeom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20AC551F-57C5-2570-AF66-DB69A924132F}"/>
                </a:ext>
              </a:extLst>
            </p:cNvPr>
            <p:cNvCxnSpPr/>
            <p:nvPr/>
          </p:nvCxnSpPr>
          <p:spPr>
            <a:xfrm>
              <a:off x="9005464" y="4558145"/>
              <a:ext cx="13845" cy="900546"/>
            </a:xfrm>
            <a:prstGeom prst="line">
              <a:avLst/>
            </a:prstGeom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1CE678D1-4863-87F6-A55D-238A9A1927D0}"/>
                </a:ext>
              </a:extLst>
            </p:cNvPr>
            <p:cNvSpPr/>
            <p:nvPr/>
          </p:nvSpPr>
          <p:spPr>
            <a:xfrm>
              <a:off x="3182185" y="5384835"/>
              <a:ext cx="147711" cy="147711"/>
            </a:xfrm>
            <a:prstGeom prst="ellipse">
              <a:avLst/>
            </a:prstGeom>
            <a:solidFill>
              <a:srgbClr val="E46A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A17EF16D-9DA9-BB3E-BCD4-2ED6E28B73DF}"/>
                </a:ext>
              </a:extLst>
            </p:cNvPr>
            <p:cNvSpPr/>
            <p:nvPr/>
          </p:nvSpPr>
          <p:spPr>
            <a:xfrm>
              <a:off x="5134564" y="5396983"/>
              <a:ext cx="147711" cy="147711"/>
            </a:xfrm>
            <a:prstGeom prst="ellipse">
              <a:avLst/>
            </a:prstGeom>
            <a:solidFill>
              <a:srgbClr val="449F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2677EED-243C-1ED7-B1E7-50962E1AB24E}"/>
                </a:ext>
              </a:extLst>
            </p:cNvPr>
            <p:cNvSpPr/>
            <p:nvPr/>
          </p:nvSpPr>
          <p:spPr>
            <a:xfrm>
              <a:off x="7086943" y="5384835"/>
              <a:ext cx="147711" cy="147711"/>
            </a:xfrm>
            <a:prstGeom prst="ellipse">
              <a:avLst/>
            </a:prstGeom>
            <a:solidFill>
              <a:srgbClr val="EF27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3FF46A5-B295-BB21-9420-FA98E0BDDAA8}"/>
                </a:ext>
              </a:extLst>
            </p:cNvPr>
            <p:cNvSpPr/>
            <p:nvPr/>
          </p:nvSpPr>
          <p:spPr>
            <a:xfrm>
              <a:off x="8964577" y="5396983"/>
              <a:ext cx="147711" cy="147711"/>
            </a:xfrm>
            <a:prstGeom prst="ellipse">
              <a:avLst/>
            </a:prstGeom>
            <a:solidFill>
              <a:srgbClr val="55A58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74EAA7F9-BE49-8BBF-5450-9433954A5F0C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3" name="Picture 2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D681D2CB-9AFA-2460-344B-35DB73A899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E05A2E6D-CD76-FE67-0129-3C31D58B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2A059BF0-E108-CAD6-AF3F-84B0B34824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263F545-A849-F2DA-60F1-B41A95875CD3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429270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onut 1">
            <a:extLst>
              <a:ext uri="{FF2B5EF4-FFF2-40B4-BE49-F238E27FC236}">
                <a16:creationId xmlns:a16="http://schemas.microsoft.com/office/drawing/2014/main" id="{29EAA267-F1DE-E6D7-E14F-DE04912AEB1E}"/>
              </a:ext>
            </a:extLst>
          </p:cNvPr>
          <p:cNvSpPr/>
          <p:nvPr/>
        </p:nvSpPr>
        <p:spPr>
          <a:xfrm>
            <a:off x="2098963" y="1696267"/>
            <a:ext cx="2258290" cy="2258290"/>
          </a:xfrm>
          <a:prstGeom prst="donut">
            <a:avLst/>
          </a:prstGeom>
          <a:solidFill>
            <a:srgbClr val="E46A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Donut 2">
            <a:extLst>
              <a:ext uri="{FF2B5EF4-FFF2-40B4-BE49-F238E27FC236}">
                <a16:creationId xmlns:a16="http://schemas.microsoft.com/office/drawing/2014/main" id="{AAF79A26-6B45-6BAE-29DB-7B84348947F2}"/>
              </a:ext>
            </a:extLst>
          </p:cNvPr>
          <p:cNvSpPr/>
          <p:nvPr/>
        </p:nvSpPr>
        <p:spPr>
          <a:xfrm>
            <a:off x="4010891" y="1696267"/>
            <a:ext cx="2258290" cy="2258290"/>
          </a:xfrm>
          <a:prstGeom prst="donut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8" name="Donut 3">
            <a:extLst>
              <a:ext uri="{FF2B5EF4-FFF2-40B4-BE49-F238E27FC236}">
                <a16:creationId xmlns:a16="http://schemas.microsoft.com/office/drawing/2014/main" id="{292A2CE3-9EBB-D39F-4FA3-704CEE159F80}"/>
              </a:ext>
            </a:extLst>
          </p:cNvPr>
          <p:cNvSpPr/>
          <p:nvPr/>
        </p:nvSpPr>
        <p:spPr>
          <a:xfrm>
            <a:off x="5922819" y="1696267"/>
            <a:ext cx="2258290" cy="2258290"/>
          </a:xfrm>
          <a:prstGeom prst="donut">
            <a:avLst/>
          </a:prstGeom>
          <a:solidFill>
            <a:schemeClr val="accent5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Donut 4">
            <a:extLst>
              <a:ext uri="{FF2B5EF4-FFF2-40B4-BE49-F238E27FC236}">
                <a16:creationId xmlns:a16="http://schemas.microsoft.com/office/drawing/2014/main" id="{F07FC13F-13EA-A422-8F4D-28D1FBE9B62C}"/>
              </a:ext>
            </a:extLst>
          </p:cNvPr>
          <p:cNvSpPr/>
          <p:nvPr/>
        </p:nvSpPr>
        <p:spPr>
          <a:xfrm>
            <a:off x="7834747" y="1696267"/>
            <a:ext cx="2258290" cy="2258290"/>
          </a:xfrm>
          <a:prstGeom prst="donut">
            <a:avLst/>
          </a:prstGeom>
          <a:solidFill>
            <a:schemeClr val="accent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374D1B1-1B86-E296-8897-B6A1A6EA9ED0}"/>
              </a:ext>
            </a:extLst>
          </p:cNvPr>
          <p:cNvCxnSpPr>
            <a:cxnSpLocks/>
          </p:cNvCxnSpPr>
          <p:nvPr/>
        </p:nvCxnSpPr>
        <p:spPr>
          <a:xfrm>
            <a:off x="3221186" y="3954557"/>
            <a:ext cx="13845" cy="4572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6FB087E-0C64-A923-9DCD-D3C29022BDCE}"/>
              </a:ext>
            </a:extLst>
          </p:cNvPr>
          <p:cNvCxnSpPr>
            <a:cxnSpLocks/>
          </p:cNvCxnSpPr>
          <p:nvPr/>
        </p:nvCxnSpPr>
        <p:spPr>
          <a:xfrm>
            <a:off x="5133114" y="3954557"/>
            <a:ext cx="13845" cy="4572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4CA9070-7D2A-E86F-D360-2781F6EDDB48}"/>
              </a:ext>
            </a:extLst>
          </p:cNvPr>
          <p:cNvCxnSpPr>
            <a:cxnSpLocks/>
          </p:cNvCxnSpPr>
          <p:nvPr/>
        </p:nvCxnSpPr>
        <p:spPr>
          <a:xfrm>
            <a:off x="7045042" y="3954557"/>
            <a:ext cx="13845" cy="4572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0AC551F-57C5-2570-AF66-DB69A924132F}"/>
              </a:ext>
            </a:extLst>
          </p:cNvPr>
          <p:cNvCxnSpPr>
            <a:cxnSpLocks/>
          </p:cNvCxnSpPr>
          <p:nvPr/>
        </p:nvCxnSpPr>
        <p:spPr>
          <a:xfrm>
            <a:off x="8956970" y="3954557"/>
            <a:ext cx="13845" cy="4572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4" name="Oval 23">
            <a:extLst>
              <a:ext uri="{FF2B5EF4-FFF2-40B4-BE49-F238E27FC236}">
                <a16:creationId xmlns:a16="http://schemas.microsoft.com/office/drawing/2014/main" id="{1CE678D1-4863-87F6-A55D-238A9A1927D0}"/>
              </a:ext>
            </a:extLst>
          </p:cNvPr>
          <p:cNvSpPr/>
          <p:nvPr/>
        </p:nvSpPr>
        <p:spPr>
          <a:xfrm>
            <a:off x="3154253" y="4360257"/>
            <a:ext cx="147711" cy="147711"/>
          </a:xfrm>
          <a:prstGeom prst="ellipse">
            <a:avLst/>
          </a:prstGeom>
          <a:solidFill>
            <a:srgbClr val="E46A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A17EF16D-9DA9-BB3E-BCD4-2ED6E28B73DF}"/>
              </a:ext>
            </a:extLst>
          </p:cNvPr>
          <p:cNvSpPr/>
          <p:nvPr/>
        </p:nvSpPr>
        <p:spPr>
          <a:xfrm>
            <a:off x="5066181" y="4360257"/>
            <a:ext cx="147711" cy="14771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92677EED-243C-1ED7-B1E7-50962E1AB24E}"/>
              </a:ext>
            </a:extLst>
          </p:cNvPr>
          <p:cNvSpPr/>
          <p:nvPr/>
        </p:nvSpPr>
        <p:spPr>
          <a:xfrm>
            <a:off x="6978109" y="4360257"/>
            <a:ext cx="147711" cy="14771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43FF46A5-B295-BB21-9420-FA98E0BDDAA8}"/>
              </a:ext>
            </a:extLst>
          </p:cNvPr>
          <p:cNvSpPr/>
          <p:nvPr/>
        </p:nvSpPr>
        <p:spPr>
          <a:xfrm>
            <a:off x="8890037" y="4360257"/>
            <a:ext cx="147711" cy="14771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7DB50A8-040E-7AE9-175B-48D79F9B4CB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AEBB24CA-DD74-90EA-27C9-C8838B60A7D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73BE879-7F4F-AE2A-9F54-B56E3A88AF89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FBAC93B0-44BB-06C0-F404-B1BBAA32851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310273" y="4544107"/>
            <a:ext cx="18356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3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806DAFEA-12BD-C23D-64E9-BEA4BF231A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2201" y="4544107"/>
            <a:ext cx="18356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4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9BEAC6FB-65A2-F87E-9655-263755164D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34129" y="4544107"/>
            <a:ext cx="18356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5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0DA26839-A8C5-D4A2-1AF7-8BFCF47838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46057" y="4544107"/>
            <a:ext cx="18356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2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2C4CC46-15A3-871F-9574-C7339763D857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9" name="Picture 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136ACC0C-B530-0AC6-BFBC-EC3F3D3EC7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58700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ED5A6D23-8728-CF79-6790-BB825F24CBA8}"/>
              </a:ext>
            </a:extLst>
          </p:cNvPr>
          <p:cNvGrpSpPr/>
          <p:nvPr userDrawn="1"/>
        </p:nvGrpSpPr>
        <p:grpSpPr>
          <a:xfrm>
            <a:off x="2608291" y="1679352"/>
            <a:ext cx="6975417" cy="3224635"/>
            <a:chOff x="2098962" y="1696272"/>
            <a:chExt cx="6082145" cy="2811698"/>
          </a:xfrm>
        </p:grpSpPr>
        <p:sp>
          <p:nvSpPr>
            <p:cNvPr id="16" name="Donut 1">
              <a:extLst>
                <a:ext uri="{FF2B5EF4-FFF2-40B4-BE49-F238E27FC236}">
                  <a16:creationId xmlns:a16="http://schemas.microsoft.com/office/drawing/2014/main" id="{29EAA267-F1DE-E6D7-E14F-DE04912AEB1E}"/>
                </a:ext>
              </a:extLst>
            </p:cNvPr>
            <p:cNvSpPr/>
            <p:nvPr/>
          </p:nvSpPr>
          <p:spPr>
            <a:xfrm>
              <a:off x="2098962" y="1696273"/>
              <a:ext cx="2258290" cy="2258298"/>
            </a:xfrm>
            <a:prstGeom prst="donut">
              <a:avLst/>
            </a:prstGeom>
            <a:solidFill>
              <a:schemeClr val="accent4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Donut 2">
              <a:extLst>
                <a:ext uri="{FF2B5EF4-FFF2-40B4-BE49-F238E27FC236}">
                  <a16:creationId xmlns:a16="http://schemas.microsoft.com/office/drawing/2014/main" id="{AAF79A26-6B45-6BAE-29DB-7B84348947F2}"/>
                </a:ext>
              </a:extLst>
            </p:cNvPr>
            <p:cNvSpPr/>
            <p:nvPr/>
          </p:nvSpPr>
          <p:spPr>
            <a:xfrm>
              <a:off x="4010890" y="1696273"/>
              <a:ext cx="2258290" cy="2258298"/>
            </a:xfrm>
            <a:prstGeom prst="donut">
              <a:avLst/>
            </a:prstGeom>
            <a:solidFill>
              <a:srgbClr val="449FD3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8" name="Donut 3">
              <a:extLst>
                <a:ext uri="{FF2B5EF4-FFF2-40B4-BE49-F238E27FC236}">
                  <a16:creationId xmlns:a16="http://schemas.microsoft.com/office/drawing/2014/main" id="{292A2CE3-9EBB-D39F-4FA3-704CEE159F80}"/>
                </a:ext>
              </a:extLst>
            </p:cNvPr>
            <p:cNvSpPr/>
            <p:nvPr/>
          </p:nvSpPr>
          <p:spPr>
            <a:xfrm>
              <a:off x="5922817" y="1696272"/>
              <a:ext cx="2258290" cy="2258297"/>
            </a:xfrm>
            <a:prstGeom prst="donut">
              <a:avLst/>
            </a:prstGeom>
            <a:solidFill>
              <a:srgbClr val="EF2745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F374D1B1-1B86-E296-8897-B6A1A6EA9ED0}"/>
                </a:ext>
              </a:extLst>
            </p:cNvPr>
            <p:cNvCxnSpPr>
              <a:cxnSpLocks/>
            </p:cNvCxnSpPr>
            <p:nvPr/>
          </p:nvCxnSpPr>
          <p:spPr>
            <a:xfrm>
              <a:off x="3221185" y="3954570"/>
              <a:ext cx="13845" cy="457202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86FB087E-0C64-A923-9DCD-D3C29022BDCE}"/>
                </a:ext>
              </a:extLst>
            </p:cNvPr>
            <p:cNvCxnSpPr>
              <a:cxnSpLocks/>
            </p:cNvCxnSpPr>
            <p:nvPr/>
          </p:nvCxnSpPr>
          <p:spPr>
            <a:xfrm>
              <a:off x="5133113" y="3954570"/>
              <a:ext cx="13845" cy="457202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A4CA9070-7D2A-E86F-D360-2781F6EDDB48}"/>
                </a:ext>
              </a:extLst>
            </p:cNvPr>
            <p:cNvCxnSpPr>
              <a:cxnSpLocks/>
            </p:cNvCxnSpPr>
            <p:nvPr/>
          </p:nvCxnSpPr>
          <p:spPr>
            <a:xfrm>
              <a:off x="7045040" y="3954567"/>
              <a:ext cx="13845" cy="457201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1CE678D1-4863-87F6-A55D-238A9A1927D0}"/>
                </a:ext>
              </a:extLst>
            </p:cNvPr>
            <p:cNvSpPr/>
            <p:nvPr/>
          </p:nvSpPr>
          <p:spPr>
            <a:xfrm>
              <a:off x="3154252" y="4360259"/>
              <a:ext cx="147711" cy="14771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A17EF16D-9DA9-BB3E-BCD4-2ED6E28B73DF}"/>
                </a:ext>
              </a:extLst>
            </p:cNvPr>
            <p:cNvSpPr/>
            <p:nvPr/>
          </p:nvSpPr>
          <p:spPr>
            <a:xfrm>
              <a:off x="5066181" y="4360256"/>
              <a:ext cx="147711" cy="147711"/>
            </a:xfrm>
            <a:prstGeom prst="ellipse">
              <a:avLst/>
            </a:prstGeom>
            <a:solidFill>
              <a:srgbClr val="449F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2677EED-243C-1ED7-B1E7-50962E1AB24E}"/>
                </a:ext>
              </a:extLst>
            </p:cNvPr>
            <p:cNvSpPr/>
            <p:nvPr/>
          </p:nvSpPr>
          <p:spPr>
            <a:xfrm>
              <a:off x="6978109" y="4360257"/>
              <a:ext cx="147711" cy="147711"/>
            </a:xfrm>
            <a:prstGeom prst="ellipse">
              <a:avLst/>
            </a:prstGeom>
            <a:solidFill>
              <a:srgbClr val="EF27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67DB50A8-040E-7AE9-175B-48D79F9B4CB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AEBB24CA-DD74-90EA-27C9-C8838B60A7D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73BE879-7F4F-AE2A-9F54-B56E3A88AF89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FBAC93B0-44BB-06C0-F404-B1BBAA32851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92256" y="5073501"/>
            <a:ext cx="2019238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4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806DAFEA-12BD-C23D-64E9-BEA4BF231A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80914" y="5073501"/>
            <a:ext cx="2019238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5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9BEAC6FB-65A2-F87E-9655-263755164D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69566" y="5073501"/>
            <a:ext cx="2019238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2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3010DD8-3A01-BF0F-C090-BCB252E0B449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0" name="Picture 9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2C856F2-B8AE-7601-0A2A-EE5CEF86D4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072661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43553D30-4766-529D-2173-BEC6BE0F8F99}"/>
              </a:ext>
            </a:extLst>
          </p:cNvPr>
          <p:cNvGrpSpPr/>
          <p:nvPr userDrawn="1"/>
        </p:nvGrpSpPr>
        <p:grpSpPr>
          <a:xfrm>
            <a:off x="743204" y="1937591"/>
            <a:ext cx="10702221" cy="2106109"/>
            <a:chOff x="2178142" y="3414075"/>
            <a:chExt cx="7393944" cy="1600574"/>
          </a:xfrm>
        </p:grpSpPr>
        <p:sp>
          <p:nvSpPr>
            <p:cNvPr id="4" name="Arc 3">
              <a:extLst>
                <a:ext uri="{FF2B5EF4-FFF2-40B4-BE49-F238E27FC236}">
                  <a16:creationId xmlns:a16="http://schemas.microsoft.com/office/drawing/2014/main" id="{D2CE1FB9-9EB5-C3D4-4955-138C2129B7B7}"/>
                </a:ext>
              </a:extLst>
            </p:cNvPr>
            <p:cNvSpPr/>
            <p:nvPr userDrawn="1"/>
          </p:nvSpPr>
          <p:spPr>
            <a:xfrm rot="5400000">
              <a:off x="2118284" y="3473933"/>
              <a:ext cx="1600574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B20E7215-898F-DCB1-C639-0A72F79D5029}"/>
                </a:ext>
              </a:extLst>
            </p:cNvPr>
            <p:cNvSpPr/>
            <p:nvPr userDrawn="1"/>
          </p:nvSpPr>
          <p:spPr>
            <a:xfrm>
              <a:off x="2417087" y="3690561"/>
              <a:ext cx="982292" cy="1044969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89AA68E-2CAC-D2A9-7F5F-F0B55C31EC14}"/>
                </a:ext>
              </a:extLst>
            </p:cNvPr>
            <p:cNvSpPr/>
            <p:nvPr userDrawn="1"/>
          </p:nvSpPr>
          <p:spPr>
            <a:xfrm>
              <a:off x="2564649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8" name="Arc 7">
              <a:extLst>
                <a:ext uri="{FF2B5EF4-FFF2-40B4-BE49-F238E27FC236}">
                  <a16:creationId xmlns:a16="http://schemas.microsoft.com/office/drawing/2014/main" id="{E8AC7485-3873-CB04-C612-18FDD56DFAC0}"/>
                </a:ext>
              </a:extLst>
            </p:cNvPr>
            <p:cNvSpPr/>
            <p:nvPr userDrawn="1"/>
          </p:nvSpPr>
          <p:spPr>
            <a:xfrm rot="16200000" flipV="1">
              <a:off x="3601416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BE0B488-C312-D0A6-99DD-92A9DF4CF6D7}"/>
                </a:ext>
              </a:extLst>
            </p:cNvPr>
            <p:cNvSpPr/>
            <p:nvPr userDrawn="1"/>
          </p:nvSpPr>
          <p:spPr>
            <a:xfrm>
              <a:off x="3897944" y="3690561"/>
              <a:ext cx="982292" cy="1044969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B006BF5-7484-B530-2D9A-D7E9F2FE5FC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045506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1" name="Arc 10">
              <a:extLst>
                <a:ext uri="{FF2B5EF4-FFF2-40B4-BE49-F238E27FC236}">
                  <a16:creationId xmlns:a16="http://schemas.microsoft.com/office/drawing/2014/main" id="{4D61BD23-0B63-7384-7F40-8D5E62211949}"/>
                </a:ext>
              </a:extLst>
            </p:cNvPr>
            <p:cNvSpPr/>
            <p:nvPr userDrawn="1"/>
          </p:nvSpPr>
          <p:spPr>
            <a:xfrm rot="5400000">
              <a:off x="5082272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76AD417-6F39-EA64-1869-4FE6FA07AC1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378800" y="3690561"/>
              <a:ext cx="982292" cy="1044969"/>
            </a:xfrm>
            <a:prstGeom prst="ellipse">
              <a:avLst/>
            </a:prstGeom>
            <a:solidFill>
              <a:srgbClr val="449F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5647DECC-9C4A-9A1F-7E7C-65BA8E62E6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526362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4" name="Arc 13">
              <a:extLst>
                <a:ext uri="{FF2B5EF4-FFF2-40B4-BE49-F238E27FC236}">
                  <a16:creationId xmlns:a16="http://schemas.microsoft.com/office/drawing/2014/main" id="{EF79F630-EF63-FC32-3B93-386BA2EADEC3}"/>
                </a:ext>
              </a:extLst>
            </p:cNvPr>
            <p:cNvSpPr/>
            <p:nvPr userDrawn="1"/>
          </p:nvSpPr>
          <p:spPr>
            <a:xfrm rot="16200000" flipV="1">
              <a:off x="6563127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DA01F7-55B2-8A30-8456-1673C13E7CED}"/>
                </a:ext>
              </a:extLst>
            </p:cNvPr>
            <p:cNvSpPr/>
            <p:nvPr userDrawn="1"/>
          </p:nvSpPr>
          <p:spPr>
            <a:xfrm>
              <a:off x="6859657" y="3690561"/>
              <a:ext cx="982292" cy="1044969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18FF04E-9210-0B0D-48DA-385864CF3E9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07219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4" name="Arc 33">
              <a:extLst>
                <a:ext uri="{FF2B5EF4-FFF2-40B4-BE49-F238E27FC236}">
                  <a16:creationId xmlns:a16="http://schemas.microsoft.com/office/drawing/2014/main" id="{46838F00-7324-34FC-8EAD-DCC679C43CD9}"/>
                </a:ext>
              </a:extLst>
            </p:cNvPr>
            <p:cNvSpPr/>
            <p:nvPr userDrawn="1"/>
          </p:nvSpPr>
          <p:spPr>
            <a:xfrm rot="5400000">
              <a:off x="8043983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823FAEB6-0CB7-F579-9F26-8249FC4C9A56}"/>
                </a:ext>
              </a:extLst>
            </p:cNvPr>
            <p:cNvSpPr/>
            <p:nvPr userDrawn="1"/>
          </p:nvSpPr>
          <p:spPr>
            <a:xfrm>
              <a:off x="8340512" y="3690561"/>
              <a:ext cx="982292" cy="1044969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6BF8EC73-6666-76C6-5924-434DD4F96F3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88074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852FB09A-3665-E521-75DD-EF565E95E7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4E8F612-AD1D-9947-5B52-42C596F7B6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85A4E17-9555-4F25-877F-AD696DD754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E65BBF9F-8BC0-53CF-6884-402C962A2F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48617" y="4225624"/>
            <a:ext cx="1989556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4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7FAFEDB8-AA43-300C-5F44-1212B09AE0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92054" y="4225624"/>
            <a:ext cx="1989556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5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2DEB531D-1C46-1623-980B-01D7DEC8B1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78927" y="4225624"/>
            <a:ext cx="1989556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D37A4795-9688-183E-1BA6-5547803FF2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5180" y="4225624"/>
            <a:ext cx="1989556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3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66A96AD-E374-2812-8189-6DC521AE54B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35491" y="4225624"/>
            <a:ext cx="1989556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2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93418B82-E633-FB41-8A11-9AFEC918E667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9" name="Picture 1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F178A63D-3316-BDB3-D846-E59455E2B7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67763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43553D30-4766-529D-2173-BEC6BE0F8F99}"/>
              </a:ext>
            </a:extLst>
          </p:cNvPr>
          <p:cNvGrpSpPr/>
          <p:nvPr userDrawn="1"/>
        </p:nvGrpSpPr>
        <p:grpSpPr>
          <a:xfrm>
            <a:off x="1383895" y="1972086"/>
            <a:ext cx="9424210" cy="2319069"/>
            <a:chOff x="2178142" y="3414075"/>
            <a:chExt cx="5913088" cy="1600574"/>
          </a:xfrm>
        </p:grpSpPr>
        <p:sp>
          <p:nvSpPr>
            <p:cNvPr id="4" name="Arc 3">
              <a:extLst>
                <a:ext uri="{FF2B5EF4-FFF2-40B4-BE49-F238E27FC236}">
                  <a16:creationId xmlns:a16="http://schemas.microsoft.com/office/drawing/2014/main" id="{D2CE1FB9-9EB5-C3D4-4955-138C2129B7B7}"/>
                </a:ext>
              </a:extLst>
            </p:cNvPr>
            <p:cNvSpPr/>
            <p:nvPr userDrawn="1"/>
          </p:nvSpPr>
          <p:spPr>
            <a:xfrm rot="5400000">
              <a:off x="2118284" y="3473933"/>
              <a:ext cx="1600574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B20E7215-898F-DCB1-C639-0A72F79D5029}"/>
                </a:ext>
              </a:extLst>
            </p:cNvPr>
            <p:cNvSpPr/>
            <p:nvPr userDrawn="1"/>
          </p:nvSpPr>
          <p:spPr>
            <a:xfrm>
              <a:off x="2417087" y="3690561"/>
              <a:ext cx="982292" cy="1044969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89AA68E-2CAC-D2A9-7F5F-F0B55C31EC14}"/>
                </a:ext>
              </a:extLst>
            </p:cNvPr>
            <p:cNvSpPr/>
            <p:nvPr userDrawn="1"/>
          </p:nvSpPr>
          <p:spPr>
            <a:xfrm>
              <a:off x="2564649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8" name="Arc 7">
              <a:extLst>
                <a:ext uri="{FF2B5EF4-FFF2-40B4-BE49-F238E27FC236}">
                  <a16:creationId xmlns:a16="http://schemas.microsoft.com/office/drawing/2014/main" id="{E8AC7485-3873-CB04-C612-18FDD56DFAC0}"/>
                </a:ext>
              </a:extLst>
            </p:cNvPr>
            <p:cNvSpPr/>
            <p:nvPr userDrawn="1"/>
          </p:nvSpPr>
          <p:spPr>
            <a:xfrm rot="16200000" flipV="1">
              <a:off x="3601416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BE0B488-C312-D0A6-99DD-92A9DF4CF6D7}"/>
                </a:ext>
              </a:extLst>
            </p:cNvPr>
            <p:cNvSpPr/>
            <p:nvPr userDrawn="1"/>
          </p:nvSpPr>
          <p:spPr>
            <a:xfrm>
              <a:off x="3897944" y="3690561"/>
              <a:ext cx="982292" cy="1044969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B006BF5-7484-B530-2D9A-D7E9F2FE5FC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045506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1" name="Arc 10">
              <a:extLst>
                <a:ext uri="{FF2B5EF4-FFF2-40B4-BE49-F238E27FC236}">
                  <a16:creationId xmlns:a16="http://schemas.microsoft.com/office/drawing/2014/main" id="{4D61BD23-0B63-7384-7F40-8D5E62211949}"/>
                </a:ext>
              </a:extLst>
            </p:cNvPr>
            <p:cNvSpPr/>
            <p:nvPr userDrawn="1"/>
          </p:nvSpPr>
          <p:spPr>
            <a:xfrm rot="5400000">
              <a:off x="5082272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76AD417-6F39-EA64-1869-4FE6FA07AC1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378800" y="3690561"/>
              <a:ext cx="982292" cy="1044969"/>
            </a:xfrm>
            <a:prstGeom prst="ellipse">
              <a:avLst/>
            </a:prstGeom>
            <a:solidFill>
              <a:srgbClr val="449F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5647DECC-9C4A-9A1F-7E7C-65BA8E62E6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526362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4" name="Arc 13">
              <a:extLst>
                <a:ext uri="{FF2B5EF4-FFF2-40B4-BE49-F238E27FC236}">
                  <a16:creationId xmlns:a16="http://schemas.microsoft.com/office/drawing/2014/main" id="{EF79F630-EF63-FC32-3B93-386BA2EADEC3}"/>
                </a:ext>
              </a:extLst>
            </p:cNvPr>
            <p:cNvSpPr/>
            <p:nvPr userDrawn="1"/>
          </p:nvSpPr>
          <p:spPr>
            <a:xfrm rot="16200000" flipV="1">
              <a:off x="6563127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DA01F7-55B2-8A30-8456-1673C13E7CED}"/>
                </a:ext>
              </a:extLst>
            </p:cNvPr>
            <p:cNvSpPr/>
            <p:nvPr userDrawn="1"/>
          </p:nvSpPr>
          <p:spPr>
            <a:xfrm>
              <a:off x="6859657" y="3690561"/>
              <a:ext cx="982292" cy="1044969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18FF04E-9210-0B0D-48DA-385864CF3E9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07219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852FB09A-3665-E521-75DD-EF565E95E7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4E8F612-AD1D-9947-5B52-42C596F7B6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85A4E17-9555-4F25-877F-AD696DD754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BA05FBE1-E192-8609-18C7-D5E8756848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3419" y="4454227"/>
            <a:ext cx="2188512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4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417F820B-E215-6D9B-1885-019BC71A05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73591" y="4454227"/>
            <a:ext cx="2188512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5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9D99BD18-4F33-6B86-00A9-4AC73C2D69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33763" y="4454226"/>
            <a:ext cx="2188512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2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C8A9BB75-6A32-32B1-EE01-685F696C893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53247" y="4451140"/>
            <a:ext cx="2188512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3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A98C8EC-1098-E539-62D0-97ECC806DAF7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21" name="Picture 20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E4E2C584-528A-0A2B-29EF-F53909F66C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87245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43553D30-4766-529D-2173-BEC6BE0F8F99}"/>
              </a:ext>
            </a:extLst>
          </p:cNvPr>
          <p:cNvGrpSpPr/>
          <p:nvPr userDrawn="1"/>
        </p:nvGrpSpPr>
        <p:grpSpPr>
          <a:xfrm>
            <a:off x="1806402" y="1772318"/>
            <a:ext cx="8579195" cy="2816482"/>
            <a:chOff x="2178142" y="3414075"/>
            <a:chExt cx="4432233" cy="1600574"/>
          </a:xfrm>
        </p:grpSpPr>
        <p:sp>
          <p:nvSpPr>
            <p:cNvPr id="4" name="Arc 3">
              <a:extLst>
                <a:ext uri="{FF2B5EF4-FFF2-40B4-BE49-F238E27FC236}">
                  <a16:creationId xmlns:a16="http://schemas.microsoft.com/office/drawing/2014/main" id="{D2CE1FB9-9EB5-C3D4-4955-138C2129B7B7}"/>
                </a:ext>
              </a:extLst>
            </p:cNvPr>
            <p:cNvSpPr/>
            <p:nvPr userDrawn="1"/>
          </p:nvSpPr>
          <p:spPr>
            <a:xfrm rot="5400000">
              <a:off x="2118284" y="3473933"/>
              <a:ext cx="1600574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B20E7215-898F-DCB1-C639-0A72F79D5029}"/>
                </a:ext>
              </a:extLst>
            </p:cNvPr>
            <p:cNvSpPr/>
            <p:nvPr userDrawn="1"/>
          </p:nvSpPr>
          <p:spPr>
            <a:xfrm>
              <a:off x="2417087" y="3690561"/>
              <a:ext cx="982292" cy="1044969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89AA68E-2CAC-D2A9-7F5F-F0B55C31EC14}"/>
                </a:ext>
              </a:extLst>
            </p:cNvPr>
            <p:cNvSpPr/>
            <p:nvPr userDrawn="1"/>
          </p:nvSpPr>
          <p:spPr>
            <a:xfrm>
              <a:off x="2564649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8" name="Arc 7">
              <a:extLst>
                <a:ext uri="{FF2B5EF4-FFF2-40B4-BE49-F238E27FC236}">
                  <a16:creationId xmlns:a16="http://schemas.microsoft.com/office/drawing/2014/main" id="{E8AC7485-3873-CB04-C612-18FDD56DFAC0}"/>
                </a:ext>
              </a:extLst>
            </p:cNvPr>
            <p:cNvSpPr/>
            <p:nvPr userDrawn="1"/>
          </p:nvSpPr>
          <p:spPr>
            <a:xfrm rot="16200000" flipV="1">
              <a:off x="3601416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BE0B488-C312-D0A6-99DD-92A9DF4CF6D7}"/>
                </a:ext>
              </a:extLst>
            </p:cNvPr>
            <p:cNvSpPr/>
            <p:nvPr userDrawn="1"/>
          </p:nvSpPr>
          <p:spPr>
            <a:xfrm>
              <a:off x="3897944" y="3690561"/>
              <a:ext cx="982292" cy="1044969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B006BF5-7484-B530-2D9A-D7E9F2FE5FC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045506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1" name="Arc 10">
              <a:extLst>
                <a:ext uri="{FF2B5EF4-FFF2-40B4-BE49-F238E27FC236}">
                  <a16:creationId xmlns:a16="http://schemas.microsoft.com/office/drawing/2014/main" id="{4D61BD23-0B63-7384-7F40-8D5E62211949}"/>
                </a:ext>
              </a:extLst>
            </p:cNvPr>
            <p:cNvSpPr/>
            <p:nvPr userDrawn="1"/>
          </p:nvSpPr>
          <p:spPr>
            <a:xfrm rot="5400000">
              <a:off x="5082272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76AD417-6F39-EA64-1869-4FE6FA07AC1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378800" y="3690561"/>
              <a:ext cx="982292" cy="1044969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5647DECC-9C4A-9A1F-7E7C-65BA8E62E6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526362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852FB09A-3665-E521-75DD-EF565E95E7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4E8F612-AD1D-9947-5B52-42C596F7B6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85A4E17-9555-4F25-877F-AD696DD754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2E118996-3477-7D5A-43AF-52BB22E97D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8344" y="4656806"/>
            <a:ext cx="2648099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2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83E400C5-1768-CCBB-D0F7-A8221C7B89C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895542" y="4656806"/>
            <a:ext cx="2648099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4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270C8C6B-E8C4-AD88-ABFD-9492DDEE2D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61943" y="4656806"/>
            <a:ext cx="2648099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5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0A4CFDD-DB25-DE1D-545B-94520304B103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4" name="Picture 1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F59A6D15-7131-A3DC-D4F1-79FBDDA66D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200619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43553D30-4766-529D-2173-BEC6BE0F8F99}"/>
              </a:ext>
            </a:extLst>
          </p:cNvPr>
          <p:cNvGrpSpPr/>
          <p:nvPr userDrawn="1"/>
        </p:nvGrpSpPr>
        <p:grpSpPr>
          <a:xfrm>
            <a:off x="1449483" y="2563925"/>
            <a:ext cx="8946672" cy="1760631"/>
            <a:chOff x="2178142" y="3414075"/>
            <a:chExt cx="7393944" cy="1600574"/>
          </a:xfrm>
        </p:grpSpPr>
        <p:sp>
          <p:nvSpPr>
            <p:cNvPr id="4" name="Arc 3">
              <a:extLst>
                <a:ext uri="{FF2B5EF4-FFF2-40B4-BE49-F238E27FC236}">
                  <a16:creationId xmlns:a16="http://schemas.microsoft.com/office/drawing/2014/main" id="{D2CE1FB9-9EB5-C3D4-4955-138C2129B7B7}"/>
                </a:ext>
              </a:extLst>
            </p:cNvPr>
            <p:cNvSpPr/>
            <p:nvPr userDrawn="1"/>
          </p:nvSpPr>
          <p:spPr>
            <a:xfrm rot="5400000">
              <a:off x="2118284" y="3473933"/>
              <a:ext cx="1600574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B20E7215-898F-DCB1-C639-0A72F79D5029}"/>
                </a:ext>
              </a:extLst>
            </p:cNvPr>
            <p:cNvSpPr/>
            <p:nvPr userDrawn="1"/>
          </p:nvSpPr>
          <p:spPr>
            <a:xfrm>
              <a:off x="2417087" y="3690561"/>
              <a:ext cx="982292" cy="1044969"/>
            </a:xfrm>
            <a:prstGeom prst="ellipse">
              <a:avLst/>
            </a:prstGeom>
            <a:solidFill>
              <a:srgbClr val="55A58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89AA68E-2CAC-D2A9-7F5F-F0B55C31EC14}"/>
                </a:ext>
              </a:extLst>
            </p:cNvPr>
            <p:cNvSpPr/>
            <p:nvPr userDrawn="1"/>
          </p:nvSpPr>
          <p:spPr>
            <a:xfrm>
              <a:off x="2564649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8" name="Arc 7">
              <a:extLst>
                <a:ext uri="{FF2B5EF4-FFF2-40B4-BE49-F238E27FC236}">
                  <a16:creationId xmlns:a16="http://schemas.microsoft.com/office/drawing/2014/main" id="{E8AC7485-3873-CB04-C612-18FDD56DFAC0}"/>
                </a:ext>
              </a:extLst>
            </p:cNvPr>
            <p:cNvSpPr/>
            <p:nvPr userDrawn="1"/>
          </p:nvSpPr>
          <p:spPr>
            <a:xfrm rot="16200000" flipV="1">
              <a:off x="3601416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BE0B488-C312-D0A6-99DD-92A9DF4CF6D7}"/>
                </a:ext>
              </a:extLst>
            </p:cNvPr>
            <p:cNvSpPr/>
            <p:nvPr userDrawn="1"/>
          </p:nvSpPr>
          <p:spPr>
            <a:xfrm>
              <a:off x="3897944" y="3690561"/>
              <a:ext cx="982292" cy="1044969"/>
            </a:xfrm>
            <a:prstGeom prst="ellipse">
              <a:avLst/>
            </a:prstGeom>
            <a:solidFill>
              <a:srgbClr val="E46A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B006BF5-7484-B530-2D9A-D7E9F2FE5FC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045506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1" name="Arc 10">
              <a:extLst>
                <a:ext uri="{FF2B5EF4-FFF2-40B4-BE49-F238E27FC236}">
                  <a16:creationId xmlns:a16="http://schemas.microsoft.com/office/drawing/2014/main" id="{4D61BD23-0B63-7384-7F40-8D5E62211949}"/>
                </a:ext>
              </a:extLst>
            </p:cNvPr>
            <p:cNvSpPr/>
            <p:nvPr userDrawn="1"/>
          </p:nvSpPr>
          <p:spPr>
            <a:xfrm rot="5400000">
              <a:off x="5082272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76AD417-6F39-EA64-1869-4FE6FA07AC1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378800" y="3690561"/>
              <a:ext cx="982292" cy="1044969"/>
            </a:xfrm>
            <a:prstGeom prst="ellipse">
              <a:avLst/>
            </a:prstGeom>
            <a:solidFill>
              <a:srgbClr val="449F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5647DECC-9C4A-9A1F-7E7C-65BA8E62E6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526362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4" name="Arc 13">
              <a:extLst>
                <a:ext uri="{FF2B5EF4-FFF2-40B4-BE49-F238E27FC236}">
                  <a16:creationId xmlns:a16="http://schemas.microsoft.com/office/drawing/2014/main" id="{EF79F630-EF63-FC32-3B93-386BA2EADEC3}"/>
                </a:ext>
              </a:extLst>
            </p:cNvPr>
            <p:cNvSpPr/>
            <p:nvPr userDrawn="1"/>
          </p:nvSpPr>
          <p:spPr>
            <a:xfrm rot="16200000" flipV="1">
              <a:off x="6563127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DA01F7-55B2-8A30-8456-1673C13E7CED}"/>
                </a:ext>
              </a:extLst>
            </p:cNvPr>
            <p:cNvSpPr/>
            <p:nvPr userDrawn="1"/>
          </p:nvSpPr>
          <p:spPr>
            <a:xfrm>
              <a:off x="6859657" y="3690561"/>
              <a:ext cx="982292" cy="1044969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18FF04E-9210-0B0D-48DA-385864CF3E9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07219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4" name="Arc 33">
              <a:extLst>
                <a:ext uri="{FF2B5EF4-FFF2-40B4-BE49-F238E27FC236}">
                  <a16:creationId xmlns:a16="http://schemas.microsoft.com/office/drawing/2014/main" id="{46838F00-7324-34FC-8EAD-DCC679C43CD9}"/>
                </a:ext>
              </a:extLst>
            </p:cNvPr>
            <p:cNvSpPr/>
            <p:nvPr userDrawn="1"/>
          </p:nvSpPr>
          <p:spPr>
            <a:xfrm rot="5400000">
              <a:off x="8043983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823FAEB6-0CB7-F579-9F26-8249FC4C9A56}"/>
                </a:ext>
              </a:extLst>
            </p:cNvPr>
            <p:cNvSpPr/>
            <p:nvPr userDrawn="1"/>
          </p:nvSpPr>
          <p:spPr>
            <a:xfrm>
              <a:off x="8340512" y="3690561"/>
              <a:ext cx="982292" cy="1044969"/>
            </a:xfrm>
            <a:prstGeom prst="ellipse">
              <a:avLst/>
            </a:prstGeom>
            <a:solidFill>
              <a:srgbClr val="EF27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6BF8EC73-6666-76C6-5924-434DD4F96F3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88074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E183DB72-F922-AD9A-DC89-95D2F4D0254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duotone>
                <a:prstClr val="black"/>
                <a:schemeClr val="accent4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727936" y="4025491"/>
              <a:ext cx="352606" cy="375105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E2ADAF83-E68E-A4C6-A104-3ECE2353CB4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duotone>
                <a:prstClr val="black"/>
                <a:schemeClr val="accent4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72704" y="3991150"/>
              <a:ext cx="411233" cy="437472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BD104B35-CCEA-4F89-479D-E50BD64781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99213" y="4024341"/>
              <a:ext cx="344327" cy="366298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09972D72-C0FF-CE54-F11F-C3663C8188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96047" y="4042860"/>
              <a:ext cx="309508" cy="329257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E2D65014-5D05-635C-1040-1BA11DA190A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48495" y="4012640"/>
              <a:ext cx="337914" cy="359475"/>
            </a:xfrm>
            <a:prstGeom prst="rect">
              <a:avLst/>
            </a:prstGeom>
          </p:spPr>
        </p:pic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AB4F4E08-C0CE-42D4-86B4-BFF3414E9A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BF296586-8738-3261-0B68-66DB62395AF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76D4E38-9ACC-A252-EA98-95521249C60C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D0CF93A6-171A-86F3-36F9-48B4884853D4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8" name="Picture 1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0D75DB43-B958-69F6-0408-4099AB0AA64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75048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340A197-B0CF-A8C5-C319-E3D176DDB6B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11888" y="2006918"/>
            <a:ext cx="5140325" cy="44275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2B7A698-7C39-69C7-1BC3-BEEE03E8382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102376" y="2425649"/>
            <a:ext cx="4365563" cy="402998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20834D4-BB14-6549-4341-428B3646D423}"/>
              </a:ext>
            </a:extLst>
          </p:cNvPr>
          <p:cNvCxnSpPr>
            <a:cxnSpLocks/>
          </p:cNvCxnSpPr>
          <p:nvPr userDrawn="1"/>
        </p:nvCxnSpPr>
        <p:spPr>
          <a:xfrm>
            <a:off x="954706" y="3344657"/>
            <a:ext cx="4660902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80B8BC0-861A-A0E5-CE06-5E521F8D4DD3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102376" y="3857305"/>
            <a:ext cx="4365563" cy="402998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DD8EF5C-F90B-3E5D-B9BA-AF9403DDB293}"/>
              </a:ext>
            </a:extLst>
          </p:cNvPr>
          <p:cNvCxnSpPr>
            <a:cxnSpLocks/>
          </p:cNvCxnSpPr>
          <p:nvPr userDrawn="1"/>
        </p:nvCxnSpPr>
        <p:spPr>
          <a:xfrm>
            <a:off x="954706" y="4772951"/>
            <a:ext cx="4660902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14C4A0C6-C15F-C6ED-E5D0-D215D067BCB6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1102376" y="5375824"/>
            <a:ext cx="4365563" cy="402998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0944825-0D09-9DC6-AD0A-D7BCF4B3D3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7171" y="431627"/>
            <a:ext cx="10357658" cy="641799"/>
          </a:xfrm>
        </p:spPr>
        <p:txBody>
          <a:bodyPr>
            <a:normAutofit/>
          </a:bodyPr>
          <a:lstStyle>
            <a:lvl1pPr algn="ctr">
              <a:defRPr sz="32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881359CD-A82A-EE8F-DF8A-167DCF50C6B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711349" y="1329888"/>
            <a:ext cx="6769303" cy="429635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9D78DC6-4E5F-EE7B-8FCD-7D078BC12E48}"/>
              </a:ext>
            </a:extLst>
          </p:cNvPr>
          <p:cNvCxnSpPr>
            <a:cxnSpLocks/>
          </p:cNvCxnSpPr>
          <p:nvPr userDrawn="1"/>
        </p:nvCxnSpPr>
        <p:spPr>
          <a:xfrm>
            <a:off x="2533130" y="1158465"/>
            <a:ext cx="712574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5553955-B082-A871-2900-7F442751D101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5" name="Picture 4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B8C67E3B-50DA-4C41-FBDC-0D1468CBB1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75777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82E749-FEF8-E73D-2734-29D7B66747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779078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A45516-F4DD-DB78-091D-0C016226BA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6612" y="2776662"/>
            <a:ext cx="5157787" cy="351091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9E2EE0C-7AB7-D9DA-3642-366610BD03F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779078"/>
            <a:ext cx="5183188" cy="823912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AA3B645-278B-5576-C216-83E7E2474EA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67786" y="2776662"/>
            <a:ext cx="5183188" cy="351091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31C8AA7-6D19-12EF-F24A-6F9F90E0AB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7171" y="431627"/>
            <a:ext cx="10357658" cy="641799"/>
          </a:xfrm>
        </p:spPr>
        <p:txBody>
          <a:bodyPr>
            <a:normAutofit/>
          </a:bodyPr>
          <a:lstStyle>
            <a:lvl1pPr algn="ctr">
              <a:defRPr sz="32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E6DB93C-62F8-3C4C-1EFD-A31568CAF0E7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298768" y="1329888"/>
            <a:ext cx="5594465" cy="429635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430307C-92FD-47E7-390F-3A8BDCAC6375}"/>
              </a:ext>
            </a:extLst>
          </p:cNvPr>
          <p:cNvCxnSpPr>
            <a:cxnSpLocks/>
          </p:cNvCxnSpPr>
          <p:nvPr userDrawn="1"/>
        </p:nvCxnSpPr>
        <p:spPr>
          <a:xfrm>
            <a:off x="2533130" y="1158465"/>
            <a:ext cx="712574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C45664EF-F253-7D94-6712-B25F6837E4AA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990238A-627C-41EE-451E-43A8D7DE2E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8229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BB1A3ACE-96EE-F4FC-E59F-1689CE09CB89}"/>
              </a:ext>
            </a:extLst>
          </p:cNvPr>
          <p:cNvSpPr/>
          <p:nvPr userDrawn="1"/>
        </p:nvSpPr>
        <p:spPr>
          <a:xfrm>
            <a:off x="-3945326" y="-502038"/>
            <a:ext cx="7890651" cy="7890651"/>
          </a:xfrm>
          <a:prstGeom prst="ellipse">
            <a:avLst/>
          </a:prstGeom>
          <a:solidFill>
            <a:schemeClr val="accent3">
              <a:alpha val="38400"/>
            </a:schemeClr>
          </a:solidFill>
          <a:ln w="4445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8761E293-D9B4-0F86-0B0B-6AA5ED2AE0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153" y="6537008"/>
            <a:ext cx="753859" cy="156096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93DE41-638F-98F6-5536-83B2244FB78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37" y="2173548"/>
            <a:ext cx="7104207" cy="3978275"/>
          </a:xfrm>
        </p:spPr>
        <p:txBody>
          <a:bodyPr lIns="0" rIns="0"/>
          <a:lstStyle>
            <a:lvl1pPr marL="0" indent="0">
              <a:buNone/>
              <a:defRPr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88A9E8B-D116-858A-EC47-80BD6AF2BD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37" y="368472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3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6ED60761-73A6-A05D-E6E1-596B967C8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3" y="1241371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38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B13B303-9934-88D1-F879-E130155052E5}"/>
              </a:ext>
            </a:extLst>
          </p:cNvPr>
          <p:cNvCxnSpPr>
            <a:cxnSpLocks/>
          </p:cNvCxnSpPr>
          <p:nvPr userDrawn="1"/>
        </p:nvCxnSpPr>
        <p:spPr>
          <a:xfrm>
            <a:off x="4457701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505FFAB-B692-3082-CDAD-0716C1937B5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651200" y="-207912"/>
            <a:ext cx="7302399" cy="7302399"/>
          </a:xfrm>
          <a:prstGeom prst="chord">
            <a:avLst>
              <a:gd name="adj1" fmla="val 14891008"/>
              <a:gd name="adj2" fmla="val 14728125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</p:spTree>
    <p:extLst>
      <p:ext uri="{BB962C8B-B14F-4D97-AF65-F5344CB8AC3E}">
        <p14:creationId xmlns:p14="http://schemas.microsoft.com/office/powerpoint/2010/main" val="337030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808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0">
            <a:extLst>
              <a:ext uri="{FF2B5EF4-FFF2-40B4-BE49-F238E27FC236}">
                <a16:creationId xmlns:a16="http://schemas.microsoft.com/office/drawing/2014/main" id="{810BDFDA-EE48-88A2-8966-9DFA17417D2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495967" y="2688487"/>
            <a:ext cx="2670148" cy="267854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or drag and drop to add a photo he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B8ADFF3-CB7C-2340-DA65-45BD32B7DA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02448" y="2689225"/>
            <a:ext cx="5579952" cy="2543175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b="1">
                <a:solidFill>
                  <a:schemeClr val="accent1"/>
                </a:solidFill>
              </a:defRPr>
            </a:lvl1pPr>
            <a:lvl2pPr marL="6350" indent="0">
              <a:lnSpc>
                <a:spcPct val="100000"/>
              </a:lnSpc>
              <a:buNone/>
              <a:tabLst/>
              <a:defRPr sz="2000">
                <a:solidFill>
                  <a:schemeClr val="accent1"/>
                </a:solidFill>
              </a:defRPr>
            </a:lvl2pPr>
            <a:lvl3pPr marL="6350" indent="0">
              <a:lnSpc>
                <a:spcPct val="100000"/>
              </a:lnSpc>
              <a:buNone/>
              <a:tabLst/>
              <a:defRPr sz="160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Title</a:t>
            </a:r>
          </a:p>
          <a:p>
            <a:pPr lvl="1"/>
            <a:r>
              <a:rPr lang="en-US"/>
              <a:t>Speaker 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3302CED5-C97E-1B02-8589-FA67515F098D}"/>
              </a:ext>
            </a:extLst>
          </p:cNvPr>
          <p:cNvSpPr txBox="1">
            <a:spLocks/>
          </p:cNvSpPr>
          <p:nvPr userDrawn="1"/>
        </p:nvSpPr>
        <p:spPr>
          <a:xfrm>
            <a:off x="11517616" y="6499849"/>
            <a:ext cx="476468" cy="183662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B512E09-3C68-D92E-31B9-3A506A981726}"/>
              </a:ext>
            </a:extLst>
          </p:cNvPr>
          <p:cNvSpPr txBox="1"/>
          <p:nvPr userDrawn="1"/>
        </p:nvSpPr>
        <p:spPr>
          <a:xfrm>
            <a:off x="408927" y="6505102"/>
            <a:ext cx="784189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28577"/>
            <a:r>
              <a:rPr lang="en-US" sz="750" err="1">
                <a:solidFill>
                  <a:srgbClr val="000000">
                    <a:lumMod val="65000"/>
                    <a:lumOff val="3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icus.com</a:t>
            </a:r>
            <a:endParaRPr lang="en-US" sz="750">
              <a:solidFill>
                <a:srgbClr val="000000">
                  <a:lumMod val="65000"/>
                  <a:lumOff val="35000"/>
                </a:srgb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ABDE035-E49F-87AD-EBA1-1E78B7B2AB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439" y="6483799"/>
            <a:ext cx="215762" cy="21576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FB03FF5-B6A4-F438-24E2-161FC1CEAD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565595"/>
            <a:ext cx="10972800" cy="507831"/>
          </a:xfrm>
        </p:spPr>
        <p:txBody>
          <a:bodyPr wrap="square" anchor="b">
            <a:spAutoFit/>
          </a:bodyPr>
          <a:lstStyle>
            <a:lvl1pPr algn="ctr">
              <a:defRPr sz="3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ry to keep on one line if possib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24E48C8-3C7F-5B36-F3BC-8D3EE0E4D3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1329888"/>
            <a:ext cx="10972800" cy="369332"/>
          </a:xfrm>
        </p:spPr>
        <p:txBody>
          <a:bodyPr wrap="square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1B9182A-E540-F78D-0355-E0D08D90E33F}"/>
              </a:ext>
            </a:extLst>
          </p:cNvPr>
          <p:cNvCxnSpPr>
            <a:cxnSpLocks/>
          </p:cNvCxnSpPr>
          <p:nvPr userDrawn="1"/>
        </p:nvCxnSpPr>
        <p:spPr>
          <a:xfrm>
            <a:off x="2533130" y="1158465"/>
            <a:ext cx="712574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6520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A9E98145-3076-AAFD-4ECF-446ADBDE02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028"/>
            <a:ext cx="10515600" cy="1325563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Branding </a:t>
            </a:r>
            <a:r>
              <a:rPr lang="en-US" b="0">
                <a:solidFill>
                  <a:schemeClr val="tx2"/>
                </a:solidFill>
              </a:rPr>
              <a:t>Guideline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4F371B7-BCEF-C8B3-1119-2D7639C13B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480" y="3305103"/>
            <a:ext cx="2943434" cy="60992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D093B14-3B49-ACC3-6CC9-53603C71517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4172541"/>
            <a:ext cx="3274086" cy="74548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9E2AB9ED-00DF-B83D-0A9C-D7C262A968CD}"/>
              </a:ext>
            </a:extLst>
          </p:cNvPr>
          <p:cNvSpPr txBox="1"/>
          <p:nvPr userDrawn="1"/>
        </p:nvSpPr>
        <p:spPr>
          <a:xfrm>
            <a:off x="838200" y="2284181"/>
            <a:ext cx="3274086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l" defTabSz="2285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emplate Logo</a:t>
            </a:r>
          </a:p>
        </p:txBody>
      </p:sp>
    </p:spTree>
    <p:extLst>
      <p:ext uri="{BB962C8B-B14F-4D97-AF65-F5344CB8AC3E}">
        <p14:creationId xmlns:p14="http://schemas.microsoft.com/office/powerpoint/2010/main" val="310504430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marR="0" indent="0" algn="ctr" defTabSz="91438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Drag and drop image here</a:t>
            </a:r>
          </a:p>
        </p:txBody>
      </p:sp>
    </p:spTree>
    <p:extLst>
      <p:ext uri="{BB962C8B-B14F-4D97-AF65-F5344CB8AC3E}">
        <p14:creationId xmlns:p14="http://schemas.microsoft.com/office/powerpoint/2010/main" val="1169769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-212035" y="-1765904"/>
            <a:ext cx="12404035" cy="5124965"/>
            <a:chOff x="0" y="8787280"/>
            <a:chExt cx="46816963" cy="19680105"/>
          </a:xfrm>
        </p:grpSpPr>
        <p:sp>
          <p:nvSpPr>
            <p:cNvPr id="7" name="Freeform 9"/>
            <p:cNvSpPr>
              <a:spLocks/>
            </p:cNvSpPr>
            <p:nvPr/>
          </p:nvSpPr>
          <p:spPr bwMode="auto">
            <a:xfrm>
              <a:off x="0" y="8787280"/>
              <a:ext cx="46816963" cy="19680105"/>
            </a:xfrm>
            <a:custGeom>
              <a:avLst/>
              <a:gdLst>
                <a:gd name="T0" fmla="*/ 0 w 3200"/>
                <a:gd name="T1" fmla="*/ 866 h 1341"/>
                <a:gd name="T2" fmla="*/ 0 w 3200"/>
                <a:gd name="T3" fmla="*/ 901 h 1341"/>
                <a:gd name="T4" fmla="*/ 3200 w 3200"/>
                <a:gd name="T5" fmla="*/ 1043 h 1341"/>
                <a:gd name="T6" fmla="*/ 3200 w 3200"/>
                <a:gd name="T7" fmla="*/ 785 h 1341"/>
                <a:gd name="T8" fmla="*/ 0 w 3200"/>
                <a:gd name="T9" fmla="*/ 866 h 1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00" h="1341">
                  <a:moveTo>
                    <a:pt x="0" y="866"/>
                  </a:moveTo>
                  <a:cubicBezTo>
                    <a:pt x="0" y="901"/>
                    <a:pt x="0" y="901"/>
                    <a:pt x="0" y="901"/>
                  </a:cubicBezTo>
                  <a:cubicBezTo>
                    <a:pt x="1318" y="262"/>
                    <a:pt x="2332" y="1341"/>
                    <a:pt x="3200" y="1043"/>
                  </a:cubicBezTo>
                  <a:cubicBezTo>
                    <a:pt x="3200" y="785"/>
                    <a:pt x="3200" y="785"/>
                    <a:pt x="3200" y="785"/>
                  </a:cubicBezTo>
                  <a:cubicBezTo>
                    <a:pt x="2332" y="1084"/>
                    <a:pt x="1106" y="0"/>
                    <a:pt x="0" y="866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9"/>
            </a:p>
          </p:txBody>
        </p:sp>
        <p:sp>
          <p:nvSpPr>
            <p:cNvPr id="8" name="Freeform 13"/>
            <p:cNvSpPr>
              <a:spLocks/>
            </p:cNvSpPr>
            <p:nvPr/>
          </p:nvSpPr>
          <p:spPr bwMode="auto">
            <a:xfrm>
              <a:off x="18066281" y="15584557"/>
              <a:ext cx="28034062" cy="6921158"/>
            </a:xfrm>
            <a:custGeom>
              <a:avLst/>
              <a:gdLst>
                <a:gd name="T0" fmla="*/ 0 w 1250"/>
                <a:gd name="T1" fmla="*/ 24 h 305"/>
                <a:gd name="T2" fmla="*/ 1250 w 1250"/>
                <a:gd name="T3" fmla="*/ 186 h 305"/>
                <a:gd name="T4" fmla="*/ 0 w 1250"/>
                <a:gd name="T5" fmla="*/ 24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50" h="305">
                  <a:moveTo>
                    <a:pt x="0" y="24"/>
                  </a:moveTo>
                  <a:cubicBezTo>
                    <a:pt x="389" y="21"/>
                    <a:pt x="900" y="305"/>
                    <a:pt x="1250" y="186"/>
                  </a:cubicBezTo>
                  <a:cubicBezTo>
                    <a:pt x="856" y="265"/>
                    <a:pt x="425" y="0"/>
                    <a:pt x="0" y="24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9"/>
            </a:p>
          </p:txBody>
        </p:sp>
      </p:grpSp>
      <p:sp>
        <p:nvSpPr>
          <p:cNvPr id="20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14010" y="254001"/>
            <a:ext cx="11110921" cy="48182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200" b="1" spc="133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050" y="798917"/>
            <a:ext cx="9850881" cy="377753"/>
          </a:xfrm>
        </p:spPr>
        <p:txBody>
          <a:bodyPr anchor="t">
            <a:noAutofit/>
          </a:bodyPr>
          <a:lstStyle>
            <a:lvl1pPr marL="0" marR="0" indent="0" algn="l" defTabSz="91438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spc="133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Put Your Great Subtitle Here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344677" y="6462976"/>
            <a:ext cx="635291" cy="244883"/>
          </a:xfrm>
          <a:prstGeom prst="rect">
            <a:avLst/>
          </a:prstGeom>
        </p:spPr>
        <p:txBody>
          <a:bodyPr vert="horz" lIns="60960" tIns="30480" rIns="60960" bIns="3048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7A186AE-F4AD-4FA7-9F32-F8C5D3D896FE}" type="slidenum">
              <a:rPr lang="en-US" sz="1400" b="1" smtClean="0">
                <a:latin typeface="+mj-lt"/>
              </a:rPr>
              <a:pPr algn="r"/>
              <a:t>‹#›</a:t>
            </a:fld>
            <a:endParaRPr lang="en-US" sz="1400" b="1">
              <a:latin typeface="+mj-lt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544077" y="6461077"/>
            <a:ext cx="10455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00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icus.com</a:t>
            </a:r>
            <a:endParaRPr lang="en-US" sz="100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092" y="6432672"/>
            <a:ext cx="287683" cy="287683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543985" y="1551711"/>
            <a:ext cx="11222567" cy="4396124"/>
          </a:xfrm>
        </p:spPr>
        <p:txBody>
          <a:bodyPr/>
          <a:lstStyle>
            <a:lvl1pPr marL="0" indent="0">
              <a:spcAft>
                <a:spcPts val="800"/>
              </a:spcAft>
              <a:buNone/>
              <a:defRPr/>
            </a:lvl1pPr>
            <a:lvl2pPr>
              <a:spcAft>
                <a:spcPts val="800"/>
              </a:spcAft>
              <a:defRPr/>
            </a:lvl2pPr>
            <a:lvl3pPr>
              <a:spcAft>
                <a:spcPts val="800"/>
              </a:spcAft>
              <a:defRPr/>
            </a:lvl3pPr>
            <a:lvl4pPr>
              <a:spcAft>
                <a:spcPts val="800"/>
              </a:spcAft>
              <a:defRPr/>
            </a:lvl4pPr>
            <a:lvl5pPr>
              <a:spcAft>
                <a:spcPts val="8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6437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-212035" y="-1765904"/>
            <a:ext cx="12404035" cy="5124965"/>
            <a:chOff x="0" y="8787280"/>
            <a:chExt cx="46816963" cy="19680105"/>
          </a:xfrm>
        </p:grpSpPr>
        <p:sp>
          <p:nvSpPr>
            <p:cNvPr id="7" name="Freeform 9"/>
            <p:cNvSpPr>
              <a:spLocks/>
            </p:cNvSpPr>
            <p:nvPr/>
          </p:nvSpPr>
          <p:spPr bwMode="auto">
            <a:xfrm>
              <a:off x="0" y="8787280"/>
              <a:ext cx="46816963" cy="19680105"/>
            </a:xfrm>
            <a:custGeom>
              <a:avLst/>
              <a:gdLst>
                <a:gd name="T0" fmla="*/ 0 w 3200"/>
                <a:gd name="T1" fmla="*/ 866 h 1341"/>
                <a:gd name="T2" fmla="*/ 0 w 3200"/>
                <a:gd name="T3" fmla="*/ 901 h 1341"/>
                <a:gd name="T4" fmla="*/ 3200 w 3200"/>
                <a:gd name="T5" fmla="*/ 1043 h 1341"/>
                <a:gd name="T6" fmla="*/ 3200 w 3200"/>
                <a:gd name="T7" fmla="*/ 785 h 1341"/>
                <a:gd name="T8" fmla="*/ 0 w 3200"/>
                <a:gd name="T9" fmla="*/ 866 h 1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00" h="1341">
                  <a:moveTo>
                    <a:pt x="0" y="866"/>
                  </a:moveTo>
                  <a:cubicBezTo>
                    <a:pt x="0" y="901"/>
                    <a:pt x="0" y="901"/>
                    <a:pt x="0" y="901"/>
                  </a:cubicBezTo>
                  <a:cubicBezTo>
                    <a:pt x="1318" y="262"/>
                    <a:pt x="2332" y="1341"/>
                    <a:pt x="3200" y="1043"/>
                  </a:cubicBezTo>
                  <a:cubicBezTo>
                    <a:pt x="3200" y="785"/>
                    <a:pt x="3200" y="785"/>
                    <a:pt x="3200" y="785"/>
                  </a:cubicBezTo>
                  <a:cubicBezTo>
                    <a:pt x="2332" y="1084"/>
                    <a:pt x="1106" y="0"/>
                    <a:pt x="0" y="866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9"/>
            </a:p>
          </p:txBody>
        </p:sp>
        <p:sp>
          <p:nvSpPr>
            <p:cNvPr id="8" name="Freeform 13"/>
            <p:cNvSpPr>
              <a:spLocks/>
            </p:cNvSpPr>
            <p:nvPr/>
          </p:nvSpPr>
          <p:spPr bwMode="auto">
            <a:xfrm>
              <a:off x="18066281" y="15584557"/>
              <a:ext cx="28034062" cy="6921158"/>
            </a:xfrm>
            <a:custGeom>
              <a:avLst/>
              <a:gdLst>
                <a:gd name="T0" fmla="*/ 0 w 1250"/>
                <a:gd name="T1" fmla="*/ 24 h 305"/>
                <a:gd name="T2" fmla="*/ 1250 w 1250"/>
                <a:gd name="T3" fmla="*/ 186 h 305"/>
                <a:gd name="T4" fmla="*/ 0 w 1250"/>
                <a:gd name="T5" fmla="*/ 24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50" h="305">
                  <a:moveTo>
                    <a:pt x="0" y="24"/>
                  </a:moveTo>
                  <a:cubicBezTo>
                    <a:pt x="389" y="21"/>
                    <a:pt x="900" y="305"/>
                    <a:pt x="1250" y="186"/>
                  </a:cubicBezTo>
                  <a:cubicBezTo>
                    <a:pt x="856" y="265"/>
                    <a:pt x="425" y="0"/>
                    <a:pt x="0" y="24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9"/>
            </a:p>
          </p:txBody>
        </p:sp>
      </p:grpSp>
      <p:sp>
        <p:nvSpPr>
          <p:cNvPr id="20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14010" y="254001"/>
            <a:ext cx="11110921" cy="48182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200" b="1" spc="133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050" y="798917"/>
            <a:ext cx="9850881" cy="377753"/>
          </a:xfrm>
        </p:spPr>
        <p:txBody>
          <a:bodyPr anchor="t">
            <a:noAutofit/>
          </a:bodyPr>
          <a:lstStyle>
            <a:lvl1pPr marL="0" marR="0" indent="0" algn="l" defTabSz="91438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spc="133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Put Your Great Subtitle Here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344677" y="6462976"/>
            <a:ext cx="635291" cy="244883"/>
          </a:xfrm>
          <a:prstGeom prst="rect">
            <a:avLst/>
          </a:prstGeom>
        </p:spPr>
        <p:txBody>
          <a:bodyPr vert="horz" lIns="60960" tIns="30480" rIns="60960" bIns="3048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7A186AE-F4AD-4FA7-9F32-F8C5D3D896FE}" type="slidenum">
              <a:rPr lang="en-US" sz="1400" b="1" smtClean="0">
                <a:latin typeface="+mj-lt"/>
              </a:rPr>
              <a:pPr algn="r"/>
              <a:t>‹#›</a:t>
            </a:fld>
            <a:endParaRPr lang="en-US" sz="1400" b="1">
              <a:latin typeface="+mj-lt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544077" y="6461077"/>
            <a:ext cx="10455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00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icus.com</a:t>
            </a:r>
            <a:endParaRPr lang="en-US" sz="100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092" y="6432672"/>
            <a:ext cx="287683" cy="287683"/>
          </a:xfrm>
          <a:prstGeom prst="rect">
            <a:avLst/>
          </a:prstGeom>
        </p:spPr>
      </p:pic>
      <p:sp>
        <p:nvSpPr>
          <p:cNvPr id="9" name="Table Placeholder 8">
            <a:extLst>
              <a:ext uri="{FF2B5EF4-FFF2-40B4-BE49-F238E27FC236}">
                <a16:creationId xmlns:a16="http://schemas.microsoft.com/office/drawing/2014/main" id="{25F38799-EB2A-2943-9FE8-C4B717F1C0C8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1066869" y="1694298"/>
            <a:ext cx="9681633" cy="438727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2974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F81F94F7-3542-1421-11FF-7E97E3E4A800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 rot="16200000">
            <a:off x="-3927264" y="662866"/>
            <a:ext cx="5720108" cy="5720108"/>
            <a:chOff x="105150" y="-3122465"/>
            <a:chExt cx="5720108" cy="5720108"/>
          </a:xfrm>
        </p:grpSpPr>
        <p:sp>
          <p:nvSpPr>
            <p:cNvPr id="3" name="Chord 2">
              <a:extLst>
                <a:ext uri="{FF2B5EF4-FFF2-40B4-BE49-F238E27FC236}">
                  <a16:creationId xmlns:a16="http://schemas.microsoft.com/office/drawing/2014/main" id="{684D3A4E-C346-0EC6-7CFC-A9071123569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215574"/>
                <a:gd name="adj2" fmla="val 9610099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4" name="Chord 3">
              <a:extLst>
                <a:ext uri="{FF2B5EF4-FFF2-40B4-BE49-F238E27FC236}">
                  <a16:creationId xmlns:a16="http://schemas.microsoft.com/office/drawing/2014/main" id="{993B4201-EBFE-4641-5859-36A22E3CE52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503614"/>
                <a:gd name="adj2" fmla="val 9282250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5" name="Chord 4">
              <a:extLst>
                <a:ext uri="{FF2B5EF4-FFF2-40B4-BE49-F238E27FC236}">
                  <a16:creationId xmlns:a16="http://schemas.microsoft.com/office/drawing/2014/main" id="{1FD5BDC9-00CC-7A9C-229E-8DD8319FE3D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82273"/>
                <a:gd name="adj2" fmla="val 8808404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6" name="Title 3">
            <a:extLst>
              <a:ext uri="{FF2B5EF4-FFF2-40B4-BE49-F238E27FC236}">
                <a16:creationId xmlns:a16="http://schemas.microsoft.com/office/drawing/2014/main" id="{A916CB59-52B3-E821-73F9-02AA0845F8E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6316" y="344488"/>
            <a:ext cx="6045200" cy="704850"/>
          </a:xfrm>
        </p:spPr>
        <p:txBody>
          <a:bodyPr>
            <a:normAutofit/>
          </a:bodyPr>
          <a:lstStyle>
            <a:lvl1pPr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en-US" sz="3600">
                <a:solidFill>
                  <a:schemeClr val="accent2"/>
                </a:solidFill>
              </a:rPr>
              <a:t>Success Story Name Here</a:t>
            </a:r>
          </a:p>
        </p:txBody>
      </p:sp>
      <p:sp>
        <p:nvSpPr>
          <p:cNvPr id="7" name="Subtitle 4">
            <a:extLst>
              <a:ext uri="{FF2B5EF4-FFF2-40B4-BE49-F238E27FC236}">
                <a16:creationId xmlns:a16="http://schemas.microsoft.com/office/drawing/2014/main" id="{772D0056-1D1F-72E2-40C2-81CB6C38FC83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446316" y="1017588"/>
            <a:ext cx="6729413" cy="430212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kumimoji="0" lang="en-US" sz="1900" b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Goal goes here</a:t>
            </a:r>
            <a:endParaRPr lang="en-US" sz="1900" b="0" u="none" strike="noStrike" kern="1200" cap="none" spc="0" normalizeH="0" baseline="0" noProof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Arial"/>
              <a:cs typeface="Arial"/>
            </a:endParaRPr>
          </a:p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97CEB46-0495-4952-6282-ECA7559A0F3B}"/>
              </a:ext>
            </a:extLst>
          </p:cNvPr>
          <p:cNvSpPr txBox="1"/>
          <p:nvPr userDrawn="1"/>
        </p:nvSpPr>
        <p:spPr>
          <a:xfrm>
            <a:off x="393557" y="6205836"/>
            <a:ext cx="610564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400" b="1" i="0">
                <a:solidFill>
                  <a:srgbClr val="353535"/>
                </a:solidFill>
                <a:effectLst/>
                <a:latin typeface="+mj-lt"/>
              </a:rPr>
              <a:t>Granicus Solution: </a:t>
            </a:r>
            <a:r>
              <a:rPr lang="en-US" sz="1400" i="0">
                <a:solidFill>
                  <a:srgbClr val="353535"/>
                </a:solidFill>
                <a:effectLst/>
                <a:latin typeface="+mj-lt"/>
              </a:rPr>
              <a:t>solution/s goes here</a:t>
            </a:r>
            <a:endParaRPr lang="en-US" sz="1200" i="0">
              <a:solidFill>
                <a:srgbClr val="353535"/>
              </a:solidFill>
              <a:effectLst/>
              <a:latin typeface="+mj-lt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C130AB-F9EB-3B51-3E6C-29A7DD9DEB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8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8930" r="24638"/>
          <a:stretch/>
        </p:blipFill>
        <p:spPr>
          <a:xfrm>
            <a:off x="7775956" y="0"/>
            <a:ext cx="4416044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DB45046-BFE6-FEDD-06B3-344691DE1A7F}"/>
              </a:ext>
            </a:extLst>
          </p:cNvPr>
          <p:cNvSpPr/>
          <p:nvPr userDrawn="1"/>
        </p:nvSpPr>
        <p:spPr>
          <a:xfrm>
            <a:off x="7750410" y="0"/>
            <a:ext cx="4441590" cy="6858000"/>
          </a:xfrm>
          <a:prstGeom prst="rect">
            <a:avLst/>
          </a:prstGeom>
          <a:solidFill>
            <a:schemeClr val="bg1">
              <a:alpha val="87897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DEAD822-AF84-BEDE-B85A-29B4A7E40A25}"/>
              </a:ext>
            </a:extLst>
          </p:cNvPr>
          <p:cNvGrpSpPr/>
          <p:nvPr userDrawn="1"/>
        </p:nvGrpSpPr>
        <p:grpSpPr>
          <a:xfrm>
            <a:off x="6087190" y="1839187"/>
            <a:ext cx="3377530" cy="3377530"/>
            <a:chOff x="5740954" y="1397670"/>
            <a:chExt cx="4062661" cy="4062661"/>
          </a:xfrm>
        </p:grpSpPr>
        <p:sp>
          <p:nvSpPr>
            <p:cNvPr id="12" name="Chord 11">
              <a:extLst>
                <a:ext uri="{FF2B5EF4-FFF2-40B4-BE49-F238E27FC236}">
                  <a16:creationId xmlns:a16="http://schemas.microsoft.com/office/drawing/2014/main" id="{2BEF99E2-3C8F-BB0D-9E5C-AB85C7EFE795}"/>
                </a:ext>
              </a:extLst>
            </p:cNvPr>
            <p:cNvSpPr/>
            <p:nvPr/>
          </p:nvSpPr>
          <p:spPr>
            <a:xfrm>
              <a:off x="5740954" y="1397670"/>
              <a:ext cx="4062661" cy="4062661"/>
            </a:xfrm>
            <a:prstGeom prst="chord">
              <a:avLst>
                <a:gd name="adj1" fmla="val 5380442"/>
                <a:gd name="adj2" fmla="val 16200000"/>
              </a:avLst>
            </a:prstGeom>
            <a:solidFill>
              <a:schemeClr val="accent5">
                <a:alpha val="72482"/>
              </a:schemeClr>
            </a:solidFill>
            <a:ln w="38100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607D6C4F-2C46-34EB-7B69-92F8D9060F6E}"/>
                </a:ext>
              </a:extLst>
            </p:cNvPr>
            <p:cNvSpPr/>
            <p:nvPr/>
          </p:nvSpPr>
          <p:spPr>
            <a:xfrm>
              <a:off x="6082000" y="1738716"/>
              <a:ext cx="3380568" cy="338056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Picture Placeholder 10">
              <a:extLst>
                <a:ext uri="{FF2B5EF4-FFF2-40B4-BE49-F238E27FC236}">
                  <a16:creationId xmlns:a16="http://schemas.microsoft.com/office/drawing/2014/main" id="{2A88D3B8-42CC-77DE-85DA-62028FE257DC}"/>
                </a:ext>
              </a:extLst>
            </p:cNvPr>
            <p:cNvSpPr txBox="1">
              <a:spLocks/>
            </p:cNvSpPr>
            <p:nvPr/>
          </p:nvSpPr>
          <p:spPr>
            <a:xfrm>
              <a:off x="6326378" y="1978547"/>
              <a:ext cx="2891812" cy="2900906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5875"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anchor="ctr">
              <a:norm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/>
                <a:t>Click icon to add picture</a:t>
              </a:r>
            </a:p>
          </p:txBody>
        </p:sp>
        <p:pic>
          <p:nvPicPr>
            <p:cNvPr id="15" name="Picture Placeholder 8">
              <a:extLst>
                <a:ext uri="{FF2B5EF4-FFF2-40B4-BE49-F238E27FC236}">
                  <a16:creationId xmlns:a16="http://schemas.microsoft.com/office/drawing/2014/main" id="{9E1DC380-BD14-7EBB-1ACE-466FDFAE829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581" r="29581"/>
            <a:stretch/>
          </p:blipFill>
          <p:spPr>
            <a:xfrm>
              <a:off x="6420212" y="2072475"/>
              <a:ext cx="2704144" cy="2713050"/>
            </a:xfrm>
            <a:prstGeom prst="ellipse">
              <a:avLst/>
            </a:prstGeom>
            <a:ln>
              <a:noFill/>
            </a:ln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70C2D6A-AE5F-E8D4-B804-0F9DA1BF8355}"/>
              </a:ext>
            </a:extLst>
          </p:cNvPr>
          <p:cNvGrpSpPr/>
          <p:nvPr userDrawn="1"/>
        </p:nvGrpSpPr>
        <p:grpSpPr>
          <a:xfrm>
            <a:off x="314372" y="1917189"/>
            <a:ext cx="4663600" cy="553998"/>
            <a:chOff x="596757" y="2666627"/>
            <a:chExt cx="4663600" cy="553998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C6513C6-F9C5-59B0-D54F-9521C456907E}"/>
                </a:ext>
              </a:extLst>
            </p:cNvPr>
            <p:cNvSpPr txBox="1"/>
            <p:nvPr/>
          </p:nvSpPr>
          <p:spPr>
            <a:xfrm>
              <a:off x="596757" y="2666627"/>
              <a:ext cx="1094505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000" i="0" u="none" strike="noStrike" kern="120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XX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3FA93B5-E5F6-DBD7-FBAC-2773478BAA07}"/>
                </a:ext>
              </a:extLst>
            </p:cNvPr>
            <p:cNvSpPr txBox="1"/>
            <p:nvPr/>
          </p:nvSpPr>
          <p:spPr>
            <a:xfrm>
              <a:off x="1768810" y="2782382"/>
              <a:ext cx="349154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Stat 1 here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0D9D3B4-DAEC-BEC6-31EB-39406373F400}"/>
              </a:ext>
            </a:extLst>
          </p:cNvPr>
          <p:cNvGrpSpPr/>
          <p:nvPr userDrawn="1"/>
        </p:nvGrpSpPr>
        <p:grpSpPr>
          <a:xfrm>
            <a:off x="325947" y="2973954"/>
            <a:ext cx="4577125" cy="553998"/>
            <a:chOff x="608332" y="3646037"/>
            <a:chExt cx="4577125" cy="553998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EEAFFCA2-ECDE-A6D4-1540-6B7D2E66B72E}"/>
                </a:ext>
              </a:extLst>
            </p:cNvPr>
            <p:cNvSpPr txBox="1"/>
            <p:nvPr/>
          </p:nvSpPr>
          <p:spPr>
            <a:xfrm>
              <a:off x="608332" y="3646037"/>
              <a:ext cx="108293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000" i="0" u="none" strike="noStrike" kern="120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XX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F2BAE9E-6475-F9AF-7B8D-FCED2577F53D}"/>
                </a:ext>
              </a:extLst>
            </p:cNvPr>
            <p:cNvSpPr txBox="1"/>
            <p:nvPr/>
          </p:nvSpPr>
          <p:spPr>
            <a:xfrm>
              <a:off x="1768810" y="3735417"/>
              <a:ext cx="3416647" cy="3593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Stat 2 here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803D432-5C03-0BA6-0185-519A26946395}"/>
              </a:ext>
            </a:extLst>
          </p:cNvPr>
          <p:cNvGrpSpPr/>
          <p:nvPr userDrawn="1"/>
        </p:nvGrpSpPr>
        <p:grpSpPr>
          <a:xfrm>
            <a:off x="302797" y="4065761"/>
            <a:ext cx="4600274" cy="553998"/>
            <a:chOff x="585182" y="4587587"/>
            <a:chExt cx="4600274" cy="553998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E41789E0-0C0C-A3CC-ABE9-84C36440F153}"/>
                </a:ext>
              </a:extLst>
            </p:cNvPr>
            <p:cNvSpPr txBox="1"/>
            <p:nvPr/>
          </p:nvSpPr>
          <p:spPr>
            <a:xfrm>
              <a:off x="585182" y="4587587"/>
              <a:ext cx="110608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000" i="0" u="none" strike="noStrike" kern="120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XX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5B88253-68B8-60B2-135E-2F299E88C55C}"/>
                </a:ext>
              </a:extLst>
            </p:cNvPr>
            <p:cNvSpPr txBox="1"/>
            <p:nvPr/>
          </p:nvSpPr>
          <p:spPr>
            <a:xfrm>
              <a:off x="1768810" y="4704528"/>
              <a:ext cx="3416646" cy="3593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Stat 3 here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3B73505-A917-6D2D-3B11-C3C892989B35}"/>
              </a:ext>
            </a:extLst>
          </p:cNvPr>
          <p:cNvGrpSpPr/>
          <p:nvPr userDrawn="1"/>
        </p:nvGrpSpPr>
        <p:grpSpPr>
          <a:xfrm>
            <a:off x="198625" y="5157571"/>
            <a:ext cx="4704446" cy="553998"/>
            <a:chOff x="481010" y="5401457"/>
            <a:chExt cx="4704446" cy="553998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9ACCE68C-1366-9B01-DAAD-F027166EF207}"/>
                </a:ext>
              </a:extLst>
            </p:cNvPr>
            <p:cNvSpPr txBox="1"/>
            <p:nvPr/>
          </p:nvSpPr>
          <p:spPr>
            <a:xfrm>
              <a:off x="481010" y="5401457"/>
              <a:ext cx="1210252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000" i="0" u="none" strike="noStrike" kern="120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XX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82BF152-7EA3-670F-0435-F46F5AA85904}"/>
                </a:ext>
              </a:extLst>
            </p:cNvPr>
            <p:cNvSpPr txBox="1"/>
            <p:nvPr/>
          </p:nvSpPr>
          <p:spPr>
            <a:xfrm>
              <a:off x="1768810" y="5505184"/>
              <a:ext cx="3416646" cy="3593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Stat 4 here</a:t>
              </a:r>
            </a:p>
          </p:txBody>
        </p:sp>
      </p:grp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FC6F10A-BC6B-BAAF-E15E-9E8AA62C729A}"/>
              </a:ext>
            </a:extLst>
          </p:cNvPr>
          <p:cNvCxnSpPr/>
          <p:nvPr userDrawn="1"/>
        </p:nvCxnSpPr>
        <p:spPr>
          <a:xfrm>
            <a:off x="516268" y="2720438"/>
            <a:ext cx="438680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1C7491D-442F-9F55-3E6E-A392F8E127D4}"/>
              </a:ext>
            </a:extLst>
          </p:cNvPr>
          <p:cNvCxnSpPr/>
          <p:nvPr userDrawn="1"/>
        </p:nvCxnSpPr>
        <p:spPr>
          <a:xfrm>
            <a:off x="516268" y="3812245"/>
            <a:ext cx="438680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AD0362A-54FC-4C99-C3AF-6ADB3F53E4AA}"/>
              </a:ext>
            </a:extLst>
          </p:cNvPr>
          <p:cNvCxnSpPr/>
          <p:nvPr userDrawn="1"/>
        </p:nvCxnSpPr>
        <p:spPr>
          <a:xfrm>
            <a:off x="516268" y="4904052"/>
            <a:ext cx="438680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BAEAA98C-50FB-4792-BBB6-81E5E1F07DB1}"/>
              </a:ext>
            </a:extLst>
          </p:cNvPr>
          <p:cNvSpPr txBox="1"/>
          <p:nvPr userDrawn="1"/>
        </p:nvSpPr>
        <p:spPr>
          <a:xfrm>
            <a:off x="9418706" y="741484"/>
            <a:ext cx="2460263" cy="11231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900" i="1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entury Gothic"/>
              </a:rPr>
              <a:t>“Success Story quote goes here.” </a:t>
            </a:r>
          </a:p>
          <a:p>
            <a:pPr>
              <a:lnSpc>
                <a:spcPct val="120000"/>
              </a:lnSpc>
              <a:spcBef>
                <a:spcPts val="1200"/>
              </a:spcBef>
            </a:pPr>
            <a:r>
              <a:rPr lang="en-US" sz="1400">
                <a:solidFill>
                  <a:schemeClr val="tx1">
                    <a:lumMod val="85000"/>
                    <a:lumOff val="15000"/>
                  </a:schemeClr>
                </a:solidFill>
                <a:effectLst/>
              </a:rPr>
              <a:t>Attribute Name, titl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C149080-894D-8B37-22C8-9F6867BA4129}"/>
              </a:ext>
            </a:extLst>
          </p:cNvPr>
          <p:cNvSpPr/>
          <p:nvPr userDrawn="1"/>
        </p:nvSpPr>
        <p:spPr>
          <a:xfrm>
            <a:off x="7104724" y="3191150"/>
            <a:ext cx="1316918" cy="6635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18CAA42-3D4B-791A-ED3A-D01729DDCE8A}"/>
              </a:ext>
            </a:extLst>
          </p:cNvPr>
          <p:cNvSpPr txBox="1"/>
          <p:nvPr userDrawn="1"/>
        </p:nvSpPr>
        <p:spPr>
          <a:xfrm>
            <a:off x="7163425" y="3191150"/>
            <a:ext cx="12582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/>
              <a:t>Update image, and Logo on top</a:t>
            </a:r>
          </a:p>
        </p:txBody>
      </p:sp>
    </p:spTree>
    <p:extLst>
      <p:ext uri="{BB962C8B-B14F-4D97-AF65-F5344CB8AC3E}">
        <p14:creationId xmlns:p14="http://schemas.microsoft.com/office/powerpoint/2010/main" val="182263277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-212035" y="-1765904"/>
            <a:ext cx="12404035" cy="5124965"/>
            <a:chOff x="0" y="8787280"/>
            <a:chExt cx="46816963" cy="19680105"/>
          </a:xfrm>
        </p:grpSpPr>
        <p:sp>
          <p:nvSpPr>
            <p:cNvPr id="7" name="Freeform 9"/>
            <p:cNvSpPr>
              <a:spLocks/>
            </p:cNvSpPr>
            <p:nvPr/>
          </p:nvSpPr>
          <p:spPr bwMode="auto">
            <a:xfrm>
              <a:off x="0" y="8787280"/>
              <a:ext cx="46816963" cy="19680105"/>
            </a:xfrm>
            <a:custGeom>
              <a:avLst/>
              <a:gdLst>
                <a:gd name="T0" fmla="*/ 0 w 3200"/>
                <a:gd name="T1" fmla="*/ 866 h 1341"/>
                <a:gd name="T2" fmla="*/ 0 w 3200"/>
                <a:gd name="T3" fmla="*/ 901 h 1341"/>
                <a:gd name="T4" fmla="*/ 3200 w 3200"/>
                <a:gd name="T5" fmla="*/ 1043 h 1341"/>
                <a:gd name="T6" fmla="*/ 3200 w 3200"/>
                <a:gd name="T7" fmla="*/ 785 h 1341"/>
                <a:gd name="T8" fmla="*/ 0 w 3200"/>
                <a:gd name="T9" fmla="*/ 866 h 1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00" h="1341">
                  <a:moveTo>
                    <a:pt x="0" y="866"/>
                  </a:moveTo>
                  <a:cubicBezTo>
                    <a:pt x="0" y="901"/>
                    <a:pt x="0" y="901"/>
                    <a:pt x="0" y="901"/>
                  </a:cubicBezTo>
                  <a:cubicBezTo>
                    <a:pt x="1318" y="262"/>
                    <a:pt x="2332" y="1341"/>
                    <a:pt x="3200" y="1043"/>
                  </a:cubicBezTo>
                  <a:cubicBezTo>
                    <a:pt x="3200" y="785"/>
                    <a:pt x="3200" y="785"/>
                    <a:pt x="3200" y="785"/>
                  </a:cubicBezTo>
                  <a:cubicBezTo>
                    <a:pt x="2332" y="1084"/>
                    <a:pt x="1106" y="0"/>
                    <a:pt x="0" y="866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9"/>
            </a:p>
          </p:txBody>
        </p:sp>
        <p:sp>
          <p:nvSpPr>
            <p:cNvPr id="8" name="Freeform 13"/>
            <p:cNvSpPr>
              <a:spLocks/>
            </p:cNvSpPr>
            <p:nvPr/>
          </p:nvSpPr>
          <p:spPr bwMode="auto">
            <a:xfrm>
              <a:off x="18066281" y="15584557"/>
              <a:ext cx="28034062" cy="6921158"/>
            </a:xfrm>
            <a:custGeom>
              <a:avLst/>
              <a:gdLst>
                <a:gd name="T0" fmla="*/ 0 w 1250"/>
                <a:gd name="T1" fmla="*/ 24 h 305"/>
                <a:gd name="T2" fmla="*/ 1250 w 1250"/>
                <a:gd name="T3" fmla="*/ 186 h 305"/>
                <a:gd name="T4" fmla="*/ 0 w 1250"/>
                <a:gd name="T5" fmla="*/ 24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50" h="305">
                  <a:moveTo>
                    <a:pt x="0" y="24"/>
                  </a:moveTo>
                  <a:cubicBezTo>
                    <a:pt x="389" y="21"/>
                    <a:pt x="900" y="305"/>
                    <a:pt x="1250" y="186"/>
                  </a:cubicBezTo>
                  <a:cubicBezTo>
                    <a:pt x="856" y="265"/>
                    <a:pt x="425" y="0"/>
                    <a:pt x="0" y="24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9"/>
            </a:p>
          </p:txBody>
        </p:sp>
      </p:grpSp>
      <p:sp>
        <p:nvSpPr>
          <p:cNvPr id="20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14010" y="254001"/>
            <a:ext cx="11110921" cy="48182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200" b="1" spc="133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050" y="798917"/>
            <a:ext cx="9850881" cy="377753"/>
          </a:xfrm>
        </p:spPr>
        <p:txBody>
          <a:bodyPr anchor="t">
            <a:noAutofit/>
          </a:bodyPr>
          <a:lstStyle>
            <a:lvl1pPr marL="0" marR="0" indent="0" algn="l" defTabSz="91438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spc="133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Put Your Great Subtitle Here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344677" y="6462976"/>
            <a:ext cx="635291" cy="244883"/>
          </a:xfrm>
          <a:prstGeom prst="rect">
            <a:avLst/>
          </a:prstGeom>
        </p:spPr>
        <p:txBody>
          <a:bodyPr vert="horz" lIns="60960" tIns="30480" rIns="60960" bIns="3048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7A186AE-F4AD-4FA7-9F32-F8C5D3D896FE}" type="slidenum">
              <a:rPr lang="en-US" sz="1400" b="1" smtClean="0">
                <a:latin typeface="+mj-lt"/>
              </a:rPr>
              <a:pPr algn="r"/>
              <a:t>‹#›</a:t>
            </a:fld>
            <a:endParaRPr lang="en-US" sz="1400" b="1">
              <a:latin typeface="+mj-lt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544077" y="6461077"/>
            <a:ext cx="10455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00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icus.com</a:t>
            </a:r>
            <a:endParaRPr lang="en-US" sz="100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092" y="6432672"/>
            <a:ext cx="287683" cy="287683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543984" y="1551711"/>
            <a:ext cx="5444237" cy="4396124"/>
          </a:xfrm>
        </p:spPr>
        <p:txBody>
          <a:bodyPr numCol="1"/>
          <a:lstStyle>
            <a:lvl1pPr marL="0" indent="0">
              <a:spcAft>
                <a:spcPts val="800"/>
              </a:spcAft>
              <a:buNone/>
              <a:defRPr b="0"/>
            </a:lvl1pPr>
            <a:lvl2pPr>
              <a:spcAft>
                <a:spcPts val="800"/>
              </a:spcAft>
              <a:defRPr/>
            </a:lvl2pPr>
            <a:lvl3pPr>
              <a:spcAft>
                <a:spcPts val="800"/>
              </a:spcAft>
              <a:defRPr/>
            </a:lvl3pPr>
            <a:lvl4pPr>
              <a:spcAft>
                <a:spcPts val="800"/>
              </a:spcAft>
              <a:defRPr/>
            </a:lvl4pPr>
            <a:lvl5pPr>
              <a:spcAft>
                <a:spcPts val="8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4"/>
          </p:nvPr>
        </p:nvSpPr>
        <p:spPr>
          <a:xfrm>
            <a:off x="6180692" y="1551709"/>
            <a:ext cx="5444237" cy="4396124"/>
          </a:xfrm>
        </p:spPr>
        <p:txBody>
          <a:bodyPr numCol="1"/>
          <a:lstStyle>
            <a:lvl1pPr marL="0" indent="0">
              <a:spcAft>
                <a:spcPts val="800"/>
              </a:spcAft>
              <a:buNone/>
              <a:defRPr b="0"/>
            </a:lvl1pPr>
            <a:lvl2pPr>
              <a:spcAft>
                <a:spcPts val="800"/>
              </a:spcAft>
              <a:defRPr/>
            </a:lvl2pPr>
            <a:lvl3pPr>
              <a:spcAft>
                <a:spcPts val="800"/>
              </a:spcAft>
              <a:defRPr/>
            </a:lvl3pPr>
            <a:lvl4pPr>
              <a:spcAft>
                <a:spcPts val="800"/>
              </a:spcAft>
              <a:defRPr/>
            </a:lvl4pPr>
            <a:lvl5pPr>
              <a:spcAft>
                <a:spcPts val="8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23455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flip dir="r"/>
      </p:transition>
    </mc:Choice>
    <mc:Fallback xmlns="">
      <p:transition spd="slow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0" y="-1792408"/>
            <a:ext cx="12192000" cy="5124965"/>
            <a:chOff x="0" y="8787280"/>
            <a:chExt cx="46816963" cy="19680105"/>
          </a:xfrm>
        </p:grpSpPr>
        <p:sp>
          <p:nvSpPr>
            <p:cNvPr id="22" name="Freeform 9"/>
            <p:cNvSpPr>
              <a:spLocks/>
            </p:cNvSpPr>
            <p:nvPr/>
          </p:nvSpPr>
          <p:spPr bwMode="auto">
            <a:xfrm>
              <a:off x="0" y="8787280"/>
              <a:ext cx="46816963" cy="19680105"/>
            </a:xfrm>
            <a:custGeom>
              <a:avLst/>
              <a:gdLst>
                <a:gd name="T0" fmla="*/ 0 w 3200"/>
                <a:gd name="T1" fmla="*/ 866 h 1341"/>
                <a:gd name="T2" fmla="*/ 0 w 3200"/>
                <a:gd name="T3" fmla="*/ 901 h 1341"/>
                <a:gd name="T4" fmla="*/ 3200 w 3200"/>
                <a:gd name="T5" fmla="*/ 1043 h 1341"/>
                <a:gd name="T6" fmla="*/ 3200 w 3200"/>
                <a:gd name="T7" fmla="*/ 785 h 1341"/>
                <a:gd name="T8" fmla="*/ 0 w 3200"/>
                <a:gd name="T9" fmla="*/ 866 h 1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00" h="1341">
                  <a:moveTo>
                    <a:pt x="0" y="866"/>
                  </a:moveTo>
                  <a:cubicBezTo>
                    <a:pt x="0" y="901"/>
                    <a:pt x="0" y="901"/>
                    <a:pt x="0" y="901"/>
                  </a:cubicBezTo>
                  <a:cubicBezTo>
                    <a:pt x="1318" y="262"/>
                    <a:pt x="2332" y="1341"/>
                    <a:pt x="3200" y="1043"/>
                  </a:cubicBezTo>
                  <a:cubicBezTo>
                    <a:pt x="3200" y="785"/>
                    <a:pt x="3200" y="785"/>
                    <a:pt x="3200" y="785"/>
                  </a:cubicBezTo>
                  <a:cubicBezTo>
                    <a:pt x="2332" y="1084"/>
                    <a:pt x="1106" y="0"/>
                    <a:pt x="0" y="866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9"/>
            </a:p>
          </p:txBody>
        </p:sp>
        <p:sp>
          <p:nvSpPr>
            <p:cNvPr id="23" name="Freeform 13"/>
            <p:cNvSpPr>
              <a:spLocks/>
            </p:cNvSpPr>
            <p:nvPr/>
          </p:nvSpPr>
          <p:spPr bwMode="auto">
            <a:xfrm>
              <a:off x="18066281" y="15584557"/>
              <a:ext cx="28034062" cy="6921158"/>
            </a:xfrm>
            <a:custGeom>
              <a:avLst/>
              <a:gdLst>
                <a:gd name="T0" fmla="*/ 0 w 1250"/>
                <a:gd name="T1" fmla="*/ 24 h 305"/>
                <a:gd name="T2" fmla="*/ 1250 w 1250"/>
                <a:gd name="T3" fmla="*/ 186 h 305"/>
                <a:gd name="T4" fmla="*/ 0 w 1250"/>
                <a:gd name="T5" fmla="*/ 24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50" h="305">
                  <a:moveTo>
                    <a:pt x="0" y="24"/>
                  </a:moveTo>
                  <a:cubicBezTo>
                    <a:pt x="389" y="21"/>
                    <a:pt x="900" y="305"/>
                    <a:pt x="1250" y="186"/>
                  </a:cubicBezTo>
                  <a:cubicBezTo>
                    <a:pt x="856" y="265"/>
                    <a:pt x="425" y="0"/>
                    <a:pt x="0" y="24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9"/>
            </a:p>
          </p:txBody>
        </p:sp>
      </p:grpSp>
      <p:sp>
        <p:nvSpPr>
          <p:cNvPr id="16" name="Picture Placeholder 18"/>
          <p:cNvSpPr>
            <a:spLocks noGrp="1"/>
          </p:cNvSpPr>
          <p:nvPr>
            <p:ph type="pic" sz="quarter" idx="17" hasCustomPrompt="1"/>
          </p:nvPr>
        </p:nvSpPr>
        <p:spPr>
          <a:xfrm>
            <a:off x="4258353" y="1640941"/>
            <a:ext cx="3599463" cy="2350899"/>
          </a:xfrm>
          <a:prstGeom prst="roundRect">
            <a:avLst>
              <a:gd name="adj" fmla="val 2189"/>
            </a:avLst>
          </a:prstGeom>
        </p:spPr>
        <p:txBody>
          <a:bodyPr anchor="ctr"/>
          <a:lstStyle>
            <a:lvl1pPr marL="0" marR="0" indent="0" algn="ctr" defTabSz="91438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Drag and drop image here</a:t>
            </a:r>
          </a:p>
        </p:txBody>
      </p:sp>
      <p:sp>
        <p:nvSpPr>
          <p:cNvPr id="17" name="Picture Placeholder 18"/>
          <p:cNvSpPr>
            <a:spLocks noGrp="1"/>
          </p:cNvSpPr>
          <p:nvPr>
            <p:ph type="pic" sz="quarter" idx="18" hasCustomPrompt="1"/>
          </p:nvPr>
        </p:nvSpPr>
        <p:spPr>
          <a:xfrm>
            <a:off x="7928753" y="1640941"/>
            <a:ext cx="3599463" cy="2350899"/>
          </a:xfrm>
          <a:prstGeom prst="roundRect">
            <a:avLst>
              <a:gd name="adj" fmla="val 3342"/>
            </a:avLst>
          </a:prstGeom>
        </p:spPr>
        <p:txBody>
          <a:bodyPr anchor="ctr"/>
          <a:lstStyle>
            <a:lvl1pPr marL="0" marR="0" indent="0" algn="ctr" defTabSz="91438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Drag and drop image here</a:t>
            </a:r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568197" y="1640941"/>
            <a:ext cx="3599463" cy="2350899"/>
          </a:xfrm>
          <a:prstGeom prst="roundRect">
            <a:avLst>
              <a:gd name="adj" fmla="val 2765"/>
            </a:avLst>
          </a:prstGeom>
        </p:spPr>
        <p:txBody>
          <a:bodyPr anchor="ctr"/>
          <a:lstStyle>
            <a:lvl1pPr marL="0" marR="0" indent="0" algn="ctr" defTabSz="91438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Drag and drop image her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14010" y="254001"/>
            <a:ext cx="11110921" cy="48182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200" b="1" spc="133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050" y="798917"/>
            <a:ext cx="9850881" cy="377753"/>
          </a:xfrm>
        </p:spPr>
        <p:txBody>
          <a:bodyPr anchor="t">
            <a:noAutofit/>
          </a:bodyPr>
          <a:lstStyle>
            <a:lvl1pPr marL="0" marR="0" indent="0" algn="l" defTabSz="91438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spc="133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Put Your Great Subtitle Here</a:t>
            </a:r>
          </a:p>
        </p:txBody>
      </p:sp>
      <p:sp>
        <p:nvSpPr>
          <p:cNvPr id="20" name="Slide Number Placeholder 5"/>
          <p:cNvSpPr txBox="1">
            <a:spLocks/>
          </p:cNvSpPr>
          <p:nvPr userDrawn="1"/>
        </p:nvSpPr>
        <p:spPr>
          <a:xfrm>
            <a:off x="11344677" y="6462976"/>
            <a:ext cx="635291" cy="244883"/>
          </a:xfrm>
          <a:prstGeom prst="rect">
            <a:avLst/>
          </a:prstGeom>
        </p:spPr>
        <p:txBody>
          <a:bodyPr vert="horz" lIns="60960" tIns="30480" rIns="60960" bIns="3048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7A186AE-F4AD-4FA7-9F32-F8C5D3D896FE}" type="slidenum">
              <a:rPr lang="en-US" sz="1400" b="1" smtClean="0">
                <a:latin typeface="+mj-lt"/>
              </a:rPr>
              <a:pPr algn="r"/>
              <a:t>‹#›</a:t>
            </a:fld>
            <a:endParaRPr lang="en-US" sz="1400" b="1">
              <a:latin typeface="+mj-lt"/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568197" y="4114701"/>
            <a:ext cx="3592625" cy="2067939"/>
          </a:xfrm>
        </p:spPr>
        <p:txBody>
          <a:bodyPr>
            <a:normAutofit/>
          </a:bodyPr>
          <a:lstStyle>
            <a:lvl1pPr marL="0" indent="0" algn="ctr">
              <a:buNone/>
              <a:defRPr sz="2133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Body copy goes here. </a:t>
            </a:r>
            <a:r>
              <a:rPr lang="en-US" err="1"/>
              <a:t>Grancius</a:t>
            </a:r>
            <a:r>
              <a:rPr lang="en-US"/>
              <a:t> empowers the modern digital government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4258353" y="4114701"/>
            <a:ext cx="3599463" cy="2067939"/>
          </a:xfrm>
        </p:spPr>
        <p:txBody>
          <a:bodyPr>
            <a:normAutofit/>
          </a:bodyPr>
          <a:lstStyle>
            <a:lvl1pPr marL="0" indent="0" algn="ctr">
              <a:buNone/>
              <a:defRPr sz="2133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Body copy goes here. </a:t>
            </a:r>
            <a:r>
              <a:rPr lang="en-US" err="1"/>
              <a:t>Grancius</a:t>
            </a:r>
            <a:r>
              <a:rPr lang="en-US"/>
              <a:t> empowers the modern digital government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7928753" y="4114701"/>
            <a:ext cx="3599463" cy="2067939"/>
          </a:xfrm>
        </p:spPr>
        <p:txBody>
          <a:bodyPr>
            <a:normAutofit/>
          </a:bodyPr>
          <a:lstStyle>
            <a:lvl1pPr marL="0" indent="0" algn="ctr">
              <a:buNone/>
              <a:defRPr sz="2133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Body copy goes here. </a:t>
            </a:r>
            <a:r>
              <a:rPr lang="en-US" err="1"/>
              <a:t>Grancius</a:t>
            </a:r>
            <a:r>
              <a:rPr lang="en-US"/>
              <a:t> empowers the modern digital government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544077" y="6461077"/>
            <a:ext cx="10455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00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icus.com</a:t>
            </a:r>
            <a:endParaRPr lang="en-US" sz="100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092" y="6432672"/>
            <a:ext cx="287683" cy="287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556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am Wo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0" hasCustomPrompt="1"/>
          </p:nvPr>
        </p:nvSpPr>
        <p:spPr>
          <a:xfrm>
            <a:off x="1609654" y="1963744"/>
            <a:ext cx="1637743" cy="1637712"/>
          </a:xfrm>
          <a:custGeom>
            <a:avLst/>
            <a:gdLst>
              <a:gd name="connsiteX0" fmla="*/ 2327238 w 4654476"/>
              <a:gd name="connsiteY0" fmla="*/ 0 h 4654476"/>
              <a:gd name="connsiteX1" fmla="*/ 4654476 w 4654476"/>
              <a:gd name="connsiteY1" fmla="*/ 2327238 h 4654476"/>
              <a:gd name="connsiteX2" fmla="*/ 2327238 w 4654476"/>
              <a:gd name="connsiteY2" fmla="*/ 4654476 h 4654476"/>
              <a:gd name="connsiteX3" fmla="*/ 0 w 4654476"/>
              <a:gd name="connsiteY3" fmla="*/ 2327238 h 4654476"/>
              <a:gd name="connsiteX4" fmla="*/ 2327238 w 4654476"/>
              <a:gd name="connsiteY4" fmla="*/ 0 h 4654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4476" h="4654476">
                <a:moveTo>
                  <a:pt x="2327238" y="0"/>
                </a:moveTo>
                <a:cubicBezTo>
                  <a:pt x="3612536" y="0"/>
                  <a:pt x="4654476" y="1041940"/>
                  <a:pt x="4654476" y="2327238"/>
                </a:cubicBezTo>
                <a:cubicBezTo>
                  <a:pt x="4654476" y="3612536"/>
                  <a:pt x="3612536" y="4654476"/>
                  <a:pt x="2327238" y="4654476"/>
                </a:cubicBezTo>
                <a:cubicBezTo>
                  <a:pt x="1041940" y="4654476"/>
                  <a:pt x="0" y="3612536"/>
                  <a:pt x="0" y="2327238"/>
                </a:cubicBezTo>
                <a:cubicBezTo>
                  <a:pt x="0" y="1041940"/>
                  <a:pt x="1041940" y="0"/>
                  <a:pt x="2327238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marR="0" indent="0" algn="ctr" defTabSz="91438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67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Drag and drop image here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0" y="2288327"/>
            <a:ext cx="12192000" cy="5124965"/>
            <a:chOff x="0" y="8787280"/>
            <a:chExt cx="46816963" cy="19680105"/>
          </a:xfrm>
        </p:grpSpPr>
        <p:sp>
          <p:nvSpPr>
            <p:cNvPr id="6" name="Freeform 9"/>
            <p:cNvSpPr>
              <a:spLocks/>
            </p:cNvSpPr>
            <p:nvPr/>
          </p:nvSpPr>
          <p:spPr bwMode="auto">
            <a:xfrm>
              <a:off x="0" y="8787280"/>
              <a:ext cx="46816963" cy="19680105"/>
            </a:xfrm>
            <a:custGeom>
              <a:avLst/>
              <a:gdLst>
                <a:gd name="T0" fmla="*/ 0 w 3200"/>
                <a:gd name="T1" fmla="*/ 866 h 1341"/>
                <a:gd name="T2" fmla="*/ 0 w 3200"/>
                <a:gd name="T3" fmla="*/ 901 h 1341"/>
                <a:gd name="T4" fmla="*/ 3200 w 3200"/>
                <a:gd name="T5" fmla="*/ 1043 h 1341"/>
                <a:gd name="T6" fmla="*/ 3200 w 3200"/>
                <a:gd name="T7" fmla="*/ 785 h 1341"/>
                <a:gd name="T8" fmla="*/ 0 w 3200"/>
                <a:gd name="T9" fmla="*/ 866 h 1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00" h="1341">
                  <a:moveTo>
                    <a:pt x="0" y="866"/>
                  </a:moveTo>
                  <a:cubicBezTo>
                    <a:pt x="0" y="901"/>
                    <a:pt x="0" y="901"/>
                    <a:pt x="0" y="901"/>
                  </a:cubicBezTo>
                  <a:cubicBezTo>
                    <a:pt x="1318" y="262"/>
                    <a:pt x="2332" y="1341"/>
                    <a:pt x="3200" y="1043"/>
                  </a:cubicBezTo>
                  <a:cubicBezTo>
                    <a:pt x="3200" y="785"/>
                    <a:pt x="3200" y="785"/>
                    <a:pt x="3200" y="785"/>
                  </a:cubicBezTo>
                  <a:cubicBezTo>
                    <a:pt x="2332" y="1084"/>
                    <a:pt x="1106" y="0"/>
                    <a:pt x="0" y="866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9"/>
            </a:p>
          </p:txBody>
        </p:sp>
        <p:sp>
          <p:nvSpPr>
            <p:cNvPr id="7" name="Freeform 13"/>
            <p:cNvSpPr>
              <a:spLocks/>
            </p:cNvSpPr>
            <p:nvPr/>
          </p:nvSpPr>
          <p:spPr bwMode="auto">
            <a:xfrm>
              <a:off x="18066281" y="15584557"/>
              <a:ext cx="28034062" cy="6921158"/>
            </a:xfrm>
            <a:custGeom>
              <a:avLst/>
              <a:gdLst>
                <a:gd name="T0" fmla="*/ 0 w 1250"/>
                <a:gd name="T1" fmla="*/ 24 h 305"/>
                <a:gd name="T2" fmla="*/ 1250 w 1250"/>
                <a:gd name="T3" fmla="*/ 186 h 305"/>
                <a:gd name="T4" fmla="*/ 0 w 1250"/>
                <a:gd name="T5" fmla="*/ 24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50" h="305">
                  <a:moveTo>
                    <a:pt x="0" y="24"/>
                  </a:moveTo>
                  <a:cubicBezTo>
                    <a:pt x="389" y="21"/>
                    <a:pt x="900" y="305"/>
                    <a:pt x="1250" y="186"/>
                  </a:cubicBezTo>
                  <a:cubicBezTo>
                    <a:pt x="856" y="265"/>
                    <a:pt x="425" y="0"/>
                    <a:pt x="0" y="24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9"/>
            </a:p>
          </p:txBody>
        </p:sp>
      </p:grpSp>
      <p:sp>
        <p:nvSpPr>
          <p:cNvPr id="22" name="Picture Placeholder 14"/>
          <p:cNvSpPr>
            <a:spLocks noGrp="1"/>
          </p:cNvSpPr>
          <p:nvPr>
            <p:ph type="pic" sz="quarter" idx="16" hasCustomPrompt="1"/>
          </p:nvPr>
        </p:nvSpPr>
        <p:spPr>
          <a:xfrm>
            <a:off x="5139205" y="1952037"/>
            <a:ext cx="1637743" cy="1637712"/>
          </a:xfrm>
          <a:custGeom>
            <a:avLst/>
            <a:gdLst>
              <a:gd name="connsiteX0" fmla="*/ 2327238 w 4654476"/>
              <a:gd name="connsiteY0" fmla="*/ 0 h 4654476"/>
              <a:gd name="connsiteX1" fmla="*/ 4654476 w 4654476"/>
              <a:gd name="connsiteY1" fmla="*/ 2327238 h 4654476"/>
              <a:gd name="connsiteX2" fmla="*/ 2327238 w 4654476"/>
              <a:gd name="connsiteY2" fmla="*/ 4654476 h 4654476"/>
              <a:gd name="connsiteX3" fmla="*/ 0 w 4654476"/>
              <a:gd name="connsiteY3" fmla="*/ 2327238 h 4654476"/>
              <a:gd name="connsiteX4" fmla="*/ 2327238 w 4654476"/>
              <a:gd name="connsiteY4" fmla="*/ 0 h 4654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4476" h="4654476">
                <a:moveTo>
                  <a:pt x="2327238" y="0"/>
                </a:moveTo>
                <a:cubicBezTo>
                  <a:pt x="3612536" y="0"/>
                  <a:pt x="4654476" y="1041940"/>
                  <a:pt x="4654476" y="2327238"/>
                </a:cubicBezTo>
                <a:cubicBezTo>
                  <a:pt x="4654476" y="3612536"/>
                  <a:pt x="3612536" y="4654476"/>
                  <a:pt x="2327238" y="4654476"/>
                </a:cubicBezTo>
                <a:cubicBezTo>
                  <a:pt x="1041940" y="4654476"/>
                  <a:pt x="0" y="3612536"/>
                  <a:pt x="0" y="2327238"/>
                </a:cubicBezTo>
                <a:cubicBezTo>
                  <a:pt x="0" y="1041940"/>
                  <a:pt x="1041940" y="0"/>
                  <a:pt x="2327238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marR="0" indent="0" algn="ctr" defTabSz="91438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67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Drag and drop image here</a:t>
            </a:r>
          </a:p>
        </p:txBody>
      </p:sp>
      <p:sp>
        <p:nvSpPr>
          <p:cNvPr id="23" name="Picture Placeholder 14"/>
          <p:cNvSpPr>
            <a:spLocks noGrp="1"/>
          </p:cNvSpPr>
          <p:nvPr>
            <p:ph type="pic" sz="quarter" idx="17" hasCustomPrompt="1"/>
          </p:nvPr>
        </p:nvSpPr>
        <p:spPr>
          <a:xfrm>
            <a:off x="8668757" y="1963744"/>
            <a:ext cx="1637743" cy="1637712"/>
          </a:xfrm>
          <a:custGeom>
            <a:avLst/>
            <a:gdLst>
              <a:gd name="connsiteX0" fmla="*/ 2327238 w 4654476"/>
              <a:gd name="connsiteY0" fmla="*/ 0 h 4654476"/>
              <a:gd name="connsiteX1" fmla="*/ 4654476 w 4654476"/>
              <a:gd name="connsiteY1" fmla="*/ 2327238 h 4654476"/>
              <a:gd name="connsiteX2" fmla="*/ 2327238 w 4654476"/>
              <a:gd name="connsiteY2" fmla="*/ 4654476 h 4654476"/>
              <a:gd name="connsiteX3" fmla="*/ 0 w 4654476"/>
              <a:gd name="connsiteY3" fmla="*/ 2327238 h 4654476"/>
              <a:gd name="connsiteX4" fmla="*/ 2327238 w 4654476"/>
              <a:gd name="connsiteY4" fmla="*/ 0 h 4654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4476" h="4654476">
                <a:moveTo>
                  <a:pt x="2327238" y="0"/>
                </a:moveTo>
                <a:cubicBezTo>
                  <a:pt x="3612536" y="0"/>
                  <a:pt x="4654476" y="1041940"/>
                  <a:pt x="4654476" y="2327238"/>
                </a:cubicBezTo>
                <a:cubicBezTo>
                  <a:pt x="4654476" y="3612536"/>
                  <a:pt x="3612536" y="4654476"/>
                  <a:pt x="2327238" y="4654476"/>
                </a:cubicBezTo>
                <a:cubicBezTo>
                  <a:pt x="1041940" y="4654476"/>
                  <a:pt x="0" y="3612536"/>
                  <a:pt x="0" y="2327238"/>
                </a:cubicBezTo>
                <a:cubicBezTo>
                  <a:pt x="0" y="1041940"/>
                  <a:pt x="1041940" y="0"/>
                  <a:pt x="2327238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marR="0" indent="0" algn="ctr" defTabSz="91438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67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Drag and drop image her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14010" y="254001"/>
            <a:ext cx="11110921" cy="48182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200" b="1" spc="133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050" y="798917"/>
            <a:ext cx="9850881" cy="377753"/>
          </a:xfrm>
        </p:spPr>
        <p:txBody>
          <a:bodyPr anchor="t">
            <a:noAutofit/>
          </a:bodyPr>
          <a:lstStyle>
            <a:lvl1pPr marL="0" marR="0" indent="0" algn="l" defTabSz="91438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spc="133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Put Your Great Subtitle Here</a:t>
            </a: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344677" y="6462976"/>
            <a:ext cx="635291" cy="244883"/>
          </a:xfrm>
          <a:prstGeom prst="rect">
            <a:avLst/>
          </a:prstGeom>
        </p:spPr>
        <p:txBody>
          <a:bodyPr vert="horz" lIns="60960" tIns="30480" rIns="60960" bIns="3048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7A186AE-F4AD-4FA7-9F32-F8C5D3D896FE}" type="slidenum">
              <a:rPr lang="en-US" sz="1400" b="1" smtClean="0">
                <a:latin typeface="+mj-lt"/>
              </a:rPr>
              <a:pPr algn="r"/>
              <a:t>‹#›</a:t>
            </a:fld>
            <a:endParaRPr lang="en-US" sz="1400" b="1">
              <a:latin typeface="+mj-lt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839062" y="3784008"/>
            <a:ext cx="3178924" cy="2067939"/>
          </a:xfrm>
        </p:spPr>
        <p:txBody>
          <a:bodyPr>
            <a:normAutofit/>
          </a:bodyPr>
          <a:lstStyle>
            <a:lvl1pPr marL="0" indent="0" algn="ctr">
              <a:buNone/>
              <a:defRPr sz="2133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Body copy goes here. </a:t>
            </a:r>
            <a:r>
              <a:rPr lang="en-US" err="1"/>
              <a:t>Grancius</a:t>
            </a:r>
            <a:r>
              <a:rPr lang="en-US"/>
              <a:t> empowers the modern digital governmen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4368613" y="3772301"/>
            <a:ext cx="3178924" cy="2067939"/>
          </a:xfrm>
        </p:spPr>
        <p:txBody>
          <a:bodyPr>
            <a:normAutofit/>
          </a:bodyPr>
          <a:lstStyle>
            <a:lvl1pPr marL="0" indent="0" algn="ctr">
              <a:buNone/>
              <a:defRPr sz="2133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Body copy goes here. </a:t>
            </a:r>
            <a:r>
              <a:rPr lang="en-US" err="1"/>
              <a:t>Grancius</a:t>
            </a:r>
            <a:r>
              <a:rPr lang="en-US"/>
              <a:t> empowers the modern digital government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7898166" y="3784008"/>
            <a:ext cx="3178924" cy="2067939"/>
          </a:xfrm>
        </p:spPr>
        <p:txBody>
          <a:bodyPr>
            <a:normAutofit/>
          </a:bodyPr>
          <a:lstStyle>
            <a:lvl1pPr marL="0" indent="0" algn="ctr">
              <a:buNone/>
              <a:defRPr sz="2133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Body copy goes here. </a:t>
            </a:r>
            <a:r>
              <a:rPr lang="en-US" err="1"/>
              <a:t>Grancius</a:t>
            </a:r>
            <a:r>
              <a:rPr lang="en-US"/>
              <a:t> empowers the modern digital government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544077" y="6461077"/>
            <a:ext cx="10455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00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icus.com</a:t>
            </a:r>
            <a:endParaRPr lang="en-US" sz="100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092" y="6432672"/>
            <a:ext cx="287683" cy="287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7505104"/>
      </p:ext>
    </p:extLst>
  </p:cSld>
  <p:clrMapOvr>
    <a:masterClrMapping/>
  </p:clrMapOvr>
  <p:transition spd="slow">
    <p:wipe dir="r"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-212035" y="-1765904"/>
            <a:ext cx="12404035" cy="5124965"/>
            <a:chOff x="0" y="8787280"/>
            <a:chExt cx="46816963" cy="19680105"/>
          </a:xfrm>
        </p:grpSpPr>
        <p:sp>
          <p:nvSpPr>
            <p:cNvPr id="7" name="Freeform 9"/>
            <p:cNvSpPr>
              <a:spLocks/>
            </p:cNvSpPr>
            <p:nvPr/>
          </p:nvSpPr>
          <p:spPr bwMode="auto">
            <a:xfrm>
              <a:off x="0" y="8787280"/>
              <a:ext cx="46816963" cy="19680105"/>
            </a:xfrm>
            <a:custGeom>
              <a:avLst/>
              <a:gdLst>
                <a:gd name="T0" fmla="*/ 0 w 3200"/>
                <a:gd name="T1" fmla="*/ 866 h 1341"/>
                <a:gd name="T2" fmla="*/ 0 w 3200"/>
                <a:gd name="T3" fmla="*/ 901 h 1341"/>
                <a:gd name="T4" fmla="*/ 3200 w 3200"/>
                <a:gd name="T5" fmla="*/ 1043 h 1341"/>
                <a:gd name="T6" fmla="*/ 3200 w 3200"/>
                <a:gd name="T7" fmla="*/ 785 h 1341"/>
                <a:gd name="T8" fmla="*/ 0 w 3200"/>
                <a:gd name="T9" fmla="*/ 866 h 1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00" h="1341">
                  <a:moveTo>
                    <a:pt x="0" y="866"/>
                  </a:moveTo>
                  <a:cubicBezTo>
                    <a:pt x="0" y="901"/>
                    <a:pt x="0" y="901"/>
                    <a:pt x="0" y="901"/>
                  </a:cubicBezTo>
                  <a:cubicBezTo>
                    <a:pt x="1318" y="262"/>
                    <a:pt x="2332" y="1341"/>
                    <a:pt x="3200" y="1043"/>
                  </a:cubicBezTo>
                  <a:cubicBezTo>
                    <a:pt x="3200" y="785"/>
                    <a:pt x="3200" y="785"/>
                    <a:pt x="3200" y="785"/>
                  </a:cubicBezTo>
                  <a:cubicBezTo>
                    <a:pt x="2332" y="1084"/>
                    <a:pt x="1106" y="0"/>
                    <a:pt x="0" y="866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9"/>
            </a:p>
          </p:txBody>
        </p:sp>
        <p:sp>
          <p:nvSpPr>
            <p:cNvPr id="8" name="Freeform 13"/>
            <p:cNvSpPr>
              <a:spLocks/>
            </p:cNvSpPr>
            <p:nvPr/>
          </p:nvSpPr>
          <p:spPr bwMode="auto">
            <a:xfrm>
              <a:off x="18066281" y="15584557"/>
              <a:ext cx="28034062" cy="6921158"/>
            </a:xfrm>
            <a:custGeom>
              <a:avLst/>
              <a:gdLst>
                <a:gd name="T0" fmla="*/ 0 w 1250"/>
                <a:gd name="T1" fmla="*/ 24 h 305"/>
                <a:gd name="T2" fmla="*/ 1250 w 1250"/>
                <a:gd name="T3" fmla="*/ 186 h 305"/>
                <a:gd name="T4" fmla="*/ 0 w 1250"/>
                <a:gd name="T5" fmla="*/ 24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50" h="305">
                  <a:moveTo>
                    <a:pt x="0" y="24"/>
                  </a:moveTo>
                  <a:cubicBezTo>
                    <a:pt x="389" y="21"/>
                    <a:pt x="900" y="305"/>
                    <a:pt x="1250" y="186"/>
                  </a:cubicBezTo>
                  <a:cubicBezTo>
                    <a:pt x="856" y="265"/>
                    <a:pt x="425" y="0"/>
                    <a:pt x="0" y="24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9"/>
            </a:p>
          </p:txBody>
        </p:sp>
      </p:grpSp>
      <p:sp>
        <p:nvSpPr>
          <p:cNvPr id="20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14010" y="254001"/>
            <a:ext cx="11110921" cy="48182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200" b="1" spc="133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050" y="798917"/>
            <a:ext cx="9850881" cy="377753"/>
          </a:xfrm>
        </p:spPr>
        <p:txBody>
          <a:bodyPr anchor="t">
            <a:noAutofit/>
          </a:bodyPr>
          <a:lstStyle>
            <a:lvl1pPr marL="0" marR="0" indent="0" algn="l" defTabSz="91438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spc="133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Put Your Great Subtitle Here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344677" y="6462976"/>
            <a:ext cx="635291" cy="244883"/>
          </a:xfrm>
          <a:prstGeom prst="rect">
            <a:avLst/>
          </a:prstGeom>
        </p:spPr>
        <p:txBody>
          <a:bodyPr vert="horz" lIns="60960" tIns="30480" rIns="60960" bIns="3048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7A186AE-F4AD-4FA7-9F32-F8C5D3D896FE}" type="slidenum">
              <a:rPr lang="en-US" sz="1400" b="1" smtClean="0">
                <a:latin typeface="+mj-lt"/>
              </a:rPr>
              <a:pPr algn="r"/>
              <a:t>‹#›</a:t>
            </a:fld>
            <a:endParaRPr lang="en-US" sz="1400" b="1">
              <a:latin typeface="+mj-lt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544077" y="6461077"/>
            <a:ext cx="10455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00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icus.com</a:t>
            </a:r>
            <a:endParaRPr lang="en-US" sz="100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092" y="6432672"/>
            <a:ext cx="287683" cy="287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526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flip dir="r"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BB1A3ACE-96EE-F4FC-E59F-1689CE09CB89}"/>
              </a:ext>
            </a:extLst>
          </p:cNvPr>
          <p:cNvSpPr/>
          <p:nvPr userDrawn="1"/>
        </p:nvSpPr>
        <p:spPr>
          <a:xfrm>
            <a:off x="-3945326" y="-502038"/>
            <a:ext cx="7890651" cy="7890651"/>
          </a:xfrm>
          <a:prstGeom prst="ellipse">
            <a:avLst/>
          </a:prstGeom>
          <a:solidFill>
            <a:schemeClr val="accent2">
              <a:alpha val="38400"/>
            </a:schemeClr>
          </a:solidFill>
          <a:ln w="4445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8761E293-D9B4-0F86-0B0B-6AA5ED2AE0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153" y="6537008"/>
            <a:ext cx="753859" cy="156096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93DE41-638F-98F6-5536-83B2244FB78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37" y="2173548"/>
            <a:ext cx="7104207" cy="3978275"/>
          </a:xfrm>
        </p:spPr>
        <p:txBody>
          <a:bodyPr lIns="0" rIns="0"/>
          <a:lstStyle>
            <a:lvl1pPr marL="0" indent="0">
              <a:buNone/>
              <a:defRPr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88A9E8B-D116-858A-EC47-80BD6AF2BD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37" y="368472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3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6ED60761-73A6-A05D-E6E1-596B967C8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3" y="1241371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38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B13B303-9934-88D1-F879-E130155052E5}"/>
              </a:ext>
            </a:extLst>
          </p:cNvPr>
          <p:cNvCxnSpPr>
            <a:cxnSpLocks/>
          </p:cNvCxnSpPr>
          <p:nvPr userDrawn="1"/>
        </p:nvCxnSpPr>
        <p:spPr>
          <a:xfrm>
            <a:off x="4457701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505FFAB-B692-3082-CDAD-0716C1937B5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651200" y="-207912"/>
            <a:ext cx="7302399" cy="7302399"/>
          </a:xfrm>
          <a:prstGeom prst="chord">
            <a:avLst>
              <a:gd name="adj1" fmla="val 14891008"/>
              <a:gd name="adj2" fmla="val 14728125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</p:spTree>
    <p:extLst>
      <p:ext uri="{BB962C8B-B14F-4D97-AF65-F5344CB8AC3E}">
        <p14:creationId xmlns:p14="http://schemas.microsoft.com/office/powerpoint/2010/main" val="2775158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808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lio &amp; Projec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Picture Placeholder 41"/>
          <p:cNvSpPr>
            <a:spLocks noGrp="1"/>
          </p:cNvSpPr>
          <p:nvPr>
            <p:ph type="pic" sz="quarter" idx="14" hasCustomPrompt="1"/>
          </p:nvPr>
        </p:nvSpPr>
        <p:spPr>
          <a:xfrm>
            <a:off x="514009" y="1919188"/>
            <a:ext cx="5353200" cy="3843297"/>
          </a:xfrm>
          <a:custGeom>
            <a:avLst/>
            <a:gdLst>
              <a:gd name="connsiteX0" fmla="*/ 0 w 4679951"/>
              <a:gd name="connsiteY0" fmla="*/ 0 h 2952750"/>
              <a:gd name="connsiteX1" fmla="*/ 4679951 w 4679951"/>
              <a:gd name="connsiteY1" fmla="*/ 0 h 2952750"/>
              <a:gd name="connsiteX2" fmla="*/ 4679951 w 4679951"/>
              <a:gd name="connsiteY2" fmla="*/ 2952750 h 2952750"/>
              <a:gd name="connsiteX3" fmla="*/ 0 w 4679951"/>
              <a:gd name="connsiteY3" fmla="*/ 2952750 h 2952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79951" h="2952750">
                <a:moveTo>
                  <a:pt x="0" y="0"/>
                </a:moveTo>
                <a:lnTo>
                  <a:pt x="4679951" y="0"/>
                </a:lnTo>
                <a:lnTo>
                  <a:pt x="4679951" y="2952750"/>
                </a:lnTo>
                <a:lnTo>
                  <a:pt x="0" y="295275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Drag and drop image here</a:t>
            </a:r>
          </a:p>
        </p:txBody>
      </p:sp>
      <p:sp>
        <p:nvSpPr>
          <p:cNvPr id="43" name="Picture Placeholder 42"/>
          <p:cNvSpPr>
            <a:spLocks noGrp="1"/>
          </p:cNvSpPr>
          <p:nvPr>
            <p:ph type="pic" sz="quarter" idx="15" hasCustomPrompt="1"/>
          </p:nvPr>
        </p:nvSpPr>
        <p:spPr>
          <a:xfrm>
            <a:off x="5936107" y="1919184"/>
            <a:ext cx="2686163" cy="1889760"/>
          </a:xfrm>
          <a:custGeom>
            <a:avLst/>
            <a:gdLst>
              <a:gd name="connsiteX0" fmla="*/ 0 w 2339975"/>
              <a:gd name="connsiteY0" fmla="*/ 0 h 1476375"/>
              <a:gd name="connsiteX1" fmla="*/ 2339975 w 2339975"/>
              <a:gd name="connsiteY1" fmla="*/ 0 h 1476375"/>
              <a:gd name="connsiteX2" fmla="*/ 2339975 w 2339975"/>
              <a:gd name="connsiteY2" fmla="*/ 1476375 h 1476375"/>
              <a:gd name="connsiteX3" fmla="*/ 0 w 2339975"/>
              <a:gd name="connsiteY3" fmla="*/ 1476375 h 1476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39975" h="1476375">
                <a:moveTo>
                  <a:pt x="0" y="0"/>
                </a:moveTo>
                <a:lnTo>
                  <a:pt x="2339975" y="0"/>
                </a:lnTo>
                <a:lnTo>
                  <a:pt x="2339975" y="1476375"/>
                </a:lnTo>
                <a:lnTo>
                  <a:pt x="0" y="147637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Drag and drop image here</a:t>
            </a:r>
          </a:p>
        </p:txBody>
      </p:sp>
      <p:sp>
        <p:nvSpPr>
          <p:cNvPr id="44" name="Picture Placeholder 43"/>
          <p:cNvSpPr>
            <a:spLocks noGrp="1"/>
          </p:cNvSpPr>
          <p:nvPr>
            <p:ph type="pic" sz="quarter" idx="16" hasCustomPrompt="1"/>
          </p:nvPr>
        </p:nvSpPr>
        <p:spPr>
          <a:xfrm>
            <a:off x="8691167" y="1919184"/>
            <a:ext cx="2686163" cy="1889760"/>
          </a:xfrm>
          <a:custGeom>
            <a:avLst/>
            <a:gdLst>
              <a:gd name="connsiteX0" fmla="*/ 0 w 2339975"/>
              <a:gd name="connsiteY0" fmla="*/ 0 h 1476375"/>
              <a:gd name="connsiteX1" fmla="*/ 2339975 w 2339975"/>
              <a:gd name="connsiteY1" fmla="*/ 0 h 1476375"/>
              <a:gd name="connsiteX2" fmla="*/ 2339975 w 2339975"/>
              <a:gd name="connsiteY2" fmla="*/ 1476375 h 1476375"/>
              <a:gd name="connsiteX3" fmla="*/ 0 w 2339975"/>
              <a:gd name="connsiteY3" fmla="*/ 1476375 h 1476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39975" h="1476375">
                <a:moveTo>
                  <a:pt x="0" y="0"/>
                </a:moveTo>
                <a:lnTo>
                  <a:pt x="2339975" y="0"/>
                </a:lnTo>
                <a:lnTo>
                  <a:pt x="2339975" y="1476375"/>
                </a:lnTo>
                <a:lnTo>
                  <a:pt x="0" y="147637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Drag and drop image here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17" hasCustomPrompt="1"/>
          </p:nvPr>
        </p:nvSpPr>
        <p:spPr>
          <a:xfrm>
            <a:off x="5936108" y="3872723"/>
            <a:ext cx="2686163" cy="1889760"/>
          </a:xfrm>
          <a:custGeom>
            <a:avLst/>
            <a:gdLst>
              <a:gd name="connsiteX0" fmla="*/ 0 w 2339975"/>
              <a:gd name="connsiteY0" fmla="*/ 0 h 1476375"/>
              <a:gd name="connsiteX1" fmla="*/ 2339975 w 2339975"/>
              <a:gd name="connsiteY1" fmla="*/ 0 h 1476375"/>
              <a:gd name="connsiteX2" fmla="*/ 2339975 w 2339975"/>
              <a:gd name="connsiteY2" fmla="*/ 1476375 h 1476375"/>
              <a:gd name="connsiteX3" fmla="*/ 0 w 2339975"/>
              <a:gd name="connsiteY3" fmla="*/ 1476375 h 1476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39975" h="1476375">
                <a:moveTo>
                  <a:pt x="0" y="0"/>
                </a:moveTo>
                <a:lnTo>
                  <a:pt x="2339975" y="0"/>
                </a:lnTo>
                <a:lnTo>
                  <a:pt x="2339975" y="1476375"/>
                </a:lnTo>
                <a:lnTo>
                  <a:pt x="0" y="147637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Drag and drop image here</a:t>
            </a:r>
          </a:p>
        </p:txBody>
      </p:sp>
      <p:sp>
        <p:nvSpPr>
          <p:cNvPr id="46" name="Picture Placeholder 45"/>
          <p:cNvSpPr>
            <a:spLocks noGrp="1"/>
          </p:cNvSpPr>
          <p:nvPr>
            <p:ph type="pic" sz="quarter" idx="18" hasCustomPrompt="1"/>
          </p:nvPr>
        </p:nvSpPr>
        <p:spPr>
          <a:xfrm>
            <a:off x="8691167" y="3872723"/>
            <a:ext cx="2686163" cy="1889760"/>
          </a:xfrm>
          <a:custGeom>
            <a:avLst/>
            <a:gdLst>
              <a:gd name="connsiteX0" fmla="*/ 0 w 2339975"/>
              <a:gd name="connsiteY0" fmla="*/ 0 h 1476375"/>
              <a:gd name="connsiteX1" fmla="*/ 2339975 w 2339975"/>
              <a:gd name="connsiteY1" fmla="*/ 0 h 1476375"/>
              <a:gd name="connsiteX2" fmla="*/ 2339975 w 2339975"/>
              <a:gd name="connsiteY2" fmla="*/ 1476375 h 1476375"/>
              <a:gd name="connsiteX3" fmla="*/ 0 w 2339975"/>
              <a:gd name="connsiteY3" fmla="*/ 1476375 h 1476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39975" h="1476375">
                <a:moveTo>
                  <a:pt x="0" y="0"/>
                </a:moveTo>
                <a:lnTo>
                  <a:pt x="2339975" y="0"/>
                </a:lnTo>
                <a:lnTo>
                  <a:pt x="2339975" y="1476375"/>
                </a:lnTo>
                <a:lnTo>
                  <a:pt x="0" y="147637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Drag and drop image here</a:t>
            </a:r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11344677" y="6462976"/>
            <a:ext cx="635291" cy="244883"/>
          </a:xfrm>
          <a:prstGeom prst="rect">
            <a:avLst/>
          </a:prstGeom>
        </p:spPr>
        <p:txBody>
          <a:bodyPr vert="horz" lIns="60960" tIns="30480" rIns="60960" bIns="3048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7A186AE-F4AD-4FA7-9F32-F8C5D3D896FE}" type="slidenum">
              <a:rPr lang="en-US" sz="1400" b="1" smtClean="0">
                <a:latin typeface="+mj-lt"/>
              </a:rPr>
              <a:pPr algn="r"/>
              <a:t>‹#›</a:t>
            </a:fld>
            <a:endParaRPr lang="en-US" sz="1400" b="1">
              <a:latin typeface="+mj-lt"/>
            </a:endParaRP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14010" y="254001"/>
            <a:ext cx="11110921" cy="48182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200" b="1" spc="133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050" y="798917"/>
            <a:ext cx="9850881" cy="377753"/>
          </a:xfrm>
        </p:spPr>
        <p:txBody>
          <a:bodyPr anchor="t">
            <a:noAutofit/>
          </a:bodyPr>
          <a:lstStyle>
            <a:lvl1pPr marL="0" marR="0" indent="0" algn="l" defTabSz="91438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spc="133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Put Your Great Subtitle Her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44077" y="6461077"/>
            <a:ext cx="10455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00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icus.com</a:t>
            </a:r>
            <a:endParaRPr lang="en-US" sz="100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092" y="6432672"/>
            <a:ext cx="287683" cy="287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783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sldNum="0" hdr="0" ftr="0" dt="0"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o &amp; Projec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Picture Placeholder 42"/>
          <p:cNvSpPr>
            <a:spLocks noGrp="1"/>
          </p:cNvSpPr>
          <p:nvPr>
            <p:ph type="pic" sz="quarter" idx="15" hasCustomPrompt="1"/>
          </p:nvPr>
        </p:nvSpPr>
        <p:spPr>
          <a:xfrm>
            <a:off x="6083308" y="1595290"/>
            <a:ext cx="2616381" cy="2244684"/>
          </a:xfrm>
          <a:custGeom>
            <a:avLst/>
            <a:gdLst>
              <a:gd name="connsiteX0" fmla="*/ 0 w 2339975"/>
              <a:gd name="connsiteY0" fmla="*/ 0 h 1476375"/>
              <a:gd name="connsiteX1" fmla="*/ 2339975 w 2339975"/>
              <a:gd name="connsiteY1" fmla="*/ 0 h 1476375"/>
              <a:gd name="connsiteX2" fmla="*/ 2339975 w 2339975"/>
              <a:gd name="connsiteY2" fmla="*/ 1476375 h 1476375"/>
              <a:gd name="connsiteX3" fmla="*/ 0 w 2339975"/>
              <a:gd name="connsiteY3" fmla="*/ 1476375 h 1476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39975" h="1476375">
                <a:moveTo>
                  <a:pt x="0" y="0"/>
                </a:moveTo>
                <a:lnTo>
                  <a:pt x="2339975" y="0"/>
                </a:lnTo>
                <a:lnTo>
                  <a:pt x="2339975" y="1476375"/>
                </a:lnTo>
                <a:lnTo>
                  <a:pt x="0" y="147637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Drag and drop image here</a:t>
            </a:r>
          </a:p>
        </p:txBody>
      </p:sp>
      <p:sp>
        <p:nvSpPr>
          <p:cNvPr id="44" name="Picture Placeholder 43"/>
          <p:cNvSpPr>
            <a:spLocks noGrp="1"/>
          </p:cNvSpPr>
          <p:nvPr>
            <p:ph type="pic" sz="quarter" idx="16" hasCustomPrompt="1"/>
          </p:nvPr>
        </p:nvSpPr>
        <p:spPr>
          <a:xfrm>
            <a:off x="8806501" y="1595290"/>
            <a:ext cx="2645188" cy="2244684"/>
          </a:xfrm>
          <a:custGeom>
            <a:avLst/>
            <a:gdLst>
              <a:gd name="connsiteX0" fmla="*/ 0 w 2339975"/>
              <a:gd name="connsiteY0" fmla="*/ 0 h 1476375"/>
              <a:gd name="connsiteX1" fmla="*/ 2339975 w 2339975"/>
              <a:gd name="connsiteY1" fmla="*/ 0 h 1476375"/>
              <a:gd name="connsiteX2" fmla="*/ 2339975 w 2339975"/>
              <a:gd name="connsiteY2" fmla="*/ 1476375 h 1476375"/>
              <a:gd name="connsiteX3" fmla="*/ 0 w 2339975"/>
              <a:gd name="connsiteY3" fmla="*/ 1476375 h 1476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39975" h="1476375">
                <a:moveTo>
                  <a:pt x="0" y="0"/>
                </a:moveTo>
                <a:lnTo>
                  <a:pt x="2339975" y="0"/>
                </a:lnTo>
                <a:lnTo>
                  <a:pt x="2339975" y="1476375"/>
                </a:lnTo>
                <a:lnTo>
                  <a:pt x="0" y="147637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Drag and drop image here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17" hasCustomPrompt="1"/>
          </p:nvPr>
        </p:nvSpPr>
        <p:spPr>
          <a:xfrm>
            <a:off x="6083309" y="3923147"/>
            <a:ext cx="2616380" cy="2234620"/>
          </a:xfrm>
          <a:custGeom>
            <a:avLst/>
            <a:gdLst>
              <a:gd name="connsiteX0" fmla="*/ 0 w 2339975"/>
              <a:gd name="connsiteY0" fmla="*/ 0 h 1476375"/>
              <a:gd name="connsiteX1" fmla="*/ 2339975 w 2339975"/>
              <a:gd name="connsiteY1" fmla="*/ 0 h 1476375"/>
              <a:gd name="connsiteX2" fmla="*/ 2339975 w 2339975"/>
              <a:gd name="connsiteY2" fmla="*/ 1476375 h 1476375"/>
              <a:gd name="connsiteX3" fmla="*/ 0 w 2339975"/>
              <a:gd name="connsiteY3" fmla="*/ 1476375 h 1476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39975" h="1476375">
                <a:moveTo>
                  <a:pt x="0" y="0"/>
                </a:moveTo>
                <a:lnTo>
                  <a:pt x="2339975" y="0"/>
                </a:lnTo>
                <a:lnTo>
                  <a:pt x="2339975" y="1476375"/>
                </a:lnTo>
                <a:lnTo>
                  <a:pt x="0" y="147637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Drag and drop image here</a:t>
            </a:r>
          </a:p>
        </p:txBody>
      </p:sp>
      <p:sp>
        <p:nvSpPr>
          <p:cNvPr id="46" name="Picture Placeholder 45"/>
          <p:cNvSpPr>
            <a:spLocks noGrp="1"/>
          </p:cNvSpPr>
          <p:nvPr>
            <p:ph type="pic" sz="quarter" idx="18" hasCustomPrompt="1"/>
          </p:nvPr>
        </p:nvSpPr>
        <p:spPr>
          <a:xfrm>
            <a:off x="8804299" y="3923147"/>
            <a:ext cx="2647391" cy="2234620"/>
          </a:xfrm>
          <a:custGeom>
            <a:avLst/>
            <a:gdLst>
              <a:gd name="connsiteX0" fmla="*/ 0 w 2339975"/>
              <a:gd name="connsiteY0" fmla="*/ 0 h 1476375"/>
              <a:gd name="connsiteX1" fmla="*/ 2339975 w 2339975"/>
              <a:gd name="connsiteY1" fmla="*/ 0 h 1476375"/>
              <a:gd name="connsiteX2" fmla="*/ 2339975 w 2339975"/>
              <a:gd name="connsiteY2" fmla="*/ 1476375 h 1476375"/>
              <a:gd name="connsiteX3" fmla="*/ 0 w 2339975"/>
              <a:gd name="connsiteY3" fmla="*/ 1476375 h 1476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39975" h="1476375">
                <a:moveTo>
                  <a:pt x="0" y="0"/>
                </a:moveTo>
                <a:lnTo>
                  <a:pt x="2339975" y="0"/>
                </a:lnTo>
                <a:lnTo>
                  <a:pt x="2339975" y="1476375"/>
                </a:lnTo>
                <a:lnTo>
                  <a:pt x="0" y="147637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Drag and drop image here</a:t>
            </a:r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11344677" y="6462976"/>
            <a:ext cx="635291" cy="244883"/>
          </a:xfrm>
          <a:prstGeom prst="rect">
            <a:avLst/>
          </a:prstGeom>
        </p:spPr>
        <p:txBody>
          <a:bodyPr vert="horz" lIns="60960" tIns="30480" rIns="60960" bIns="3048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7A186AE-F4AD-4FA7-9F32-F8C5D3D896FE}" type="slidenum">
              <a:rPr lang="en-US" sz="1400" b="1" smtClean="0">
                <a:latin typeface="+mj-lt"/>
              </a:rPr>
              <a:pPr algn="r"/>
              <a:t>‹#›</a:t>
            </a:fld>
            <a:endParaRPr lang="en-US" sz="1400" b="1">
              <a:latin typeface="+mj-lt"/>
            </a:endParaRP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14010" y="254001"/>
            <a:ext cx="11110921" cy="48182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200" b="1" spc="133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050" y="798917"/>
            <a:ext cx="9850881" cy="377753"/>
          </a:xfrm>
        </p:spPr>
        <p:txBody>
          <a:bodyPr anchor="t">
            <a:noAutofit/>
          </a:bodyPr>
          <a:lstStyle>
            <a:lvl1pPr marL="0" marR="0" indent="0" algn="l" defTabSz="91438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spc="133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Put Your Great Subtitle Here</a:t>
            </a:r>
          </a:p>
        </p:txBody>
      </p:sp>
      <p:sp>
        <p:nvSpPr>
          <p:cNvPr id="34" name="Picture Placeholder 42"/>
          <p:cNvSpPr>
            <a:spLocks noGrp="1"/>
          </p:cNvSpPr>
          <p:nvPr>
            <p:ph type="pic" sz="quarter" idx="19" hasCustomPrompt="1"/>
          </p:nvPr>
        </p:nvSpPr>
        <p:spPr>
          <a:xfrm>
            <a:off x="626684" y="1595290"/>
            <a:ext cx="2616381" cy="2244684"/>
          </a:xfrm>
          <a:custGeom>
            <a:avLst/>
            <a:gdLst>
              <a:gd name="connsiteX0" fmla="*/ 0 w 2339975"/>
              <a:gd name="connsiteY0" fmla="*/ 0 h 1476375"/>
              <a:gd name="connsiteX1" fmla="*/ 2339975 w 2339975"/>
              <a:gd name="connsiteY1" fmla="*/ 0 h 1476375"/>
              <a:gd name="connsiteX2" fmla="*/ 2339975 w 2339975"/>
              <a:gd name="connsiteY2" fmla="*/ 1476375 h 1476375"/>
              <a:gd name="connsiteX3" fmla="*/ 0 w 2339975"/>
              <a:gd name="connsiteY3" fmla="*/ 1476375 h 1476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39975" h="1476375">
                <a:moveTo>
                  <a:pt x="0" y="0"/>
                </a:moveTo>
                <a:lnTo>
                  <a:pt x="2339975" y="0"/>
                </a:lnTo>
                <a:lnTo>
                  <a:pt x="2339975" y="1476375"/>
                </a:lnTo>
                <a:lnTo>
                  <a:pt x="0" y="147637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Drag and drop image here</a:t>
            </a:r>
          </a:p>
        </p:txBody>
      </p:sp>
      <p:sp>
        <p:nvSpPr>
          <p:cNvPr id="35" name="Picture Placeholder 43"/>
          <p:cNvSpPr>
            <a:spLocks noGrp="1"/>
          </p:cNvSpPr>
          <p:nvPr>
            <p:ph type="pic" sz="quarter" idx="20" hasCustomPrompt="1"/>
          </p:nvPr>
        </p:nvSpPr>
        <p:spPr>
          <a:xfrm>
            <a:off x="3349878" y="1595290"/>
            <a:ext cx="2645188" cy="2244684"/>
          </a:xfrm>
          <a:custGeom>
            <a:avLst/>
            <a:gdLst>
              <a:gd name="connsiteX0" fmla="*/ 0 w 2339975"/>
              <a:gd name="connsiteY0" fmla="*/ 0 h 1476375"/>
              <a:gd name="connsiteX1" fmla="*/ 2339975 w 2339975"/>
              <a:gd name="connsiteY1" fmla="*/ 0 h 1476375"/>
              <a:gd name="connsiteX2" fmla="*/ 2339975 w 2339975"/>
              <a:gd name="connsiteY2" fmla="*/ 1476375 h 1476375"/>
              <a:gd name="connsiteX3" fmla="*/ 0 w 2339975"/>
              <a:gd name="connsiteY3" fmla="*/ 1476375 h 1476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39975" h="1476375">
                <a:moveTo>
                  <a:pt x="0" y="0"/>
                </a:moveTo>
                <a:lnTo>
                  <a:pt x="2339975" y="0"/>
                </a:lnTo>
                <a:lnTo>
                  <a:pt x="2339975" y="1476375"/>
                </a:lnTo>
                <a:lnTo>
                  <a:pt x="0" y="147637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Drag and drop image here</a:t>
            </a:r>
          </a:p>
        </p:txBody>
      </p:sp>
      <p:sp>
        <p:nvSpPr>
          <p:cNvPr id="36" name="Picture Placeholder 44"/>
          <p:cNvSpPr>
            <a:spLocks noGrp="1"/>
          </p:cNvSpPr>
          <p:nvPr>
            <p:ph type="pic" sz="quarter" idx="21" hasCustomPrompt="1"/>
          </p:nvPr>
        </p:nvSpPr>
        <p:spPr>
          <a:xfrm>
            <a:off x="626687" y="3923146"/>
            <a:ext cx="2616380" cy="2234621"/>
          </a:xfrm>
          <a:custGeom>
            <a:avLst/>
            <a:gdLst>
              <a:gd name="connsiteX0" fmla="*/ 0 w 2339975"/>
              <a:gd name="connsiteY0" fmla="*/ 0 h 1476375"/>
              <a:gd name="connsiteX1" fmla="*/ 2339975 w 2339975"/>
              <a:gd name="connsiteY1" fmla="*/ 0 h 1476375"/>
              <a:gd name="connsiteX2" fmla="*/ 2339975 w 2339975"/>
              <a:gd name="connsiteY2" fmla="*/ 1476375 h 1476375"/>
              <a:gd name="connsiteX3" fmla="*/ 0 w 2339975"/>
              <a:gd name="connsiteY3" fmla="*/ 1476375 h 1476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39975" h="1476375">
                <a:moveTo>
                  <a:pt x="0" y="0"/>
                </a:moveTo>
                <a:lnTo>
                  <a:pt x="2339975" y="0"/>
                </a:lnTo>
                <a:lnTo>
                  <a:pt x="2339975" y="1476375"/>
                </a:lnTo>
                <a:lnTo>
                  <a:pt x="0" y="147637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Drag and drop image here</a:t>
            </a:r>
          </a:p>
        </p:txBody>
      </p:sp>
      <p:sp>
        <p:nvSpPr>
          <p:cNvPr id="37" name="Picture Placeholder 45"/>
          <p:cNvSpPr>
            <a:spLocks noGrp="1"/>
          </p:cNvSpPr>
          <p:nvPr>
            <p:ph type="pic" sz="quarter" idx="22" hasCustomPrompt="1"/>
          </p:nvPr>
        </p:nvSpPr>
        <p:spPr>
          <a:xfrm>
            <a:off x="3347677" y="3923147"/>
            <a:ext cx="2647391" cy="2234620"/>
          </a:xfrm>
          <a:custGeom>
            <a:avLst/>
            <a:gdLst>
              <a:gd name="connsiteX0" fmla="*/ 0 w 2339975"/>
              <a:gd name="connsiteY0" fmla="*/ 0 h 1476375"/>
              <a:gd name="connsiteX1" fmla="*/ 2339975 w 2339975"/>
              <a:gd name="connsiteY1" fmla="*/ 0 h 1476375"/>
              <a:gd name="connsiteX2" fmla="*/ 2339975 w 2339975"/>
              <a:gd name="connsiteY2" fmla="*/ 1476375 h 1476375"/>
              <a:gd name="connsiteX3" fmla="*/ 0 w 2339975"/>
              <a:gd name="connsiteY3" fmla="*/ 1476375 h 1476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39975" h="1476375">
                <a:moveTo>
                  <a:pt x="0" y="0"/>
                </a:moveTo>
                <a:lnTo>
                  <a:pt x="2339975" y="0"/>
                </a:lnTo>
                <a:lnTo>
                  <a:pt x="2339975" y="1476375"/>
                </a:lnTo>
                <a:lnTo>
                  <a:pt x="0" y="147637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Drag and drop image her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44077" y="6461077"/>
            <a:ext cx="10455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00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icus.com</a:t>
            </a:r>
            <a:endParaRPr lang="en-US" sz="100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092" y="6432672"/>
            <a:ext cx="287683" cy="287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788701"/>
      </p:ext>
    </p:extLst>
  </p:cSld>
  <p:clrMapOvr>
    <a:masterClrMapping/>
  </p:clrMapOvr>
  <p:transition spd="slow">
    <p:push dir="u"/>
  </p:transition>
  <p:hf sldNum="0" hdr="0" ftr="0" dt="0"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7024C4B-E507-A0AD-0992-34097312F714}"/>
              </a:ext>
            </a:extLst>
          </p:cNvPr>
          <p:cNvSpPr txBox="1"/>
          <p:nvPr userDrawn="1"/>
        </p:nvSpPr>
        <p:spPr>
          <a:xfrm>
            <a:off x="4322397" y="6578103"/>
            <a:ext cx="3547207" cy="1963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b">
            <a:spAutoFit/>
          </a:bodyPr>
          <a:lstStyle/>
          <a:p>
            <a:pPr algn="ctr" defTabSz="309546" hangingPunct="0">
              <a:lnSpc>
                <a:spcPct val="114000"/>
              </a:lnSpc>
            </a:pPr>
            <a:r>
              <a:rPr lang="en-US" sz="900" kern="0" spc="25">
                <a:ln w="28575">
                  <a:noFill/>
                </a:ln>
                <a:solidFill>
                  <a:srgbClr val="1C1C1C"/>
                </a:solidFill>
                <a:latin typeface="Century Gothic" panose="020B0502020202020204" pitchFamily="34" charset="0"/>
                <a:sym typeface="Helvetica Light"/>
              </a:rPr>
              <a:t>Government Experience Virtual Summit</a:t>
            </a:r>
            <a:endParaRPr lang="en-US" sz="900">
              <a:solidFill>
                <a:srgbClr val="1C1C1C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47939E7-5BDC-41E3-FE5E-8EF8693410B2}"/>
              </a:ext>
            </a:extLst>
          </p:cNvPr>
          <p:cNvCxnSpPr>
            <a:cxnSpLocks/>
          </p:cNvCxnSpPr>
          <p:nvPr userDrawn="1"/>
        </p:nvCxnSpPr>
        <p:spPr>
          <a:xfrm>
            <a:off x="5914887" y="6490384"/>
            <a:ext cx="362226" cy="0"/>
          </a:xfrm>
          <a:prstGeom prst="line">
            <a:avLst/>
          </a:prstGeom>
          <a:ln>
            <a:solidFill>
              <a:srgbClr val="397AAF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8109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>
            <a:extLst>
              <a:ext uri="{FF2B5EF4-FFF2-40B4-BE49-F238E27FC236}">
                <a16:creationId xmlns:a16="http://schemas.microsoft.com/office/drawing/2014/main" id="{BBDDCDEA-537F-BE0B-1494-9C7B15AFB5C4}"/>
              </a:ext>
            </a:extLst>
          </p:cNvPr>
          <p:cNvSpPr/>
          <p:nvPr userDrawn="1"/>
        </p:nvSpPr>
        <p:spPr>
          <a:xfrm>
            <a:off x="1099457" y="1221749"/>
            <a:ext cx="4414500" cy="4414500"/>
          </a:xfrm>
          <a:prstGeom prst="ellipse">
            <a:avLst/>
          </a:prstGeom>
          <a:solidFill>
            <a:srgbClr val="EF6A57">
              <a:alpha val="1484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821F9F0-E6AC-8085-1D05-4FE29843D7C3}"/>
              </a:ext>
            </a:extLst>
          </p:cNvPr>
          <p:cNvSpPr/>
          <p:nvPr userDrawn="1"/>
        </p:nvSpPr>
        <p:spPr>
          <a:xfrm>
            <a:off x="1533234" y="1655526"/>
            <a:ext cx="3546947" cy="3546947"/>
          </a:xfrm>
          <a:prstGeom prst="ellipse">
            <a:avLst/>
          </a:prstGeom>
          <a:solidFill>
            <a:srgbClr val="EF6A57">
              <a:alpha val="25438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A5CDC91A-44D3-8356-4BA4-32055A8F100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003746" y="2126038"/>
            <a:ext cx="2605923" cy="2605923"/>
          </a:xfrm>
          <a:prstGeom prst="ellipse">
            <a:avLst/>
          </a:prstGeom>
          <a:solidFill>
            <a:schemeClr val="bg1"/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9F2C27B2-EA2A-B5ED-E710-A00E895E100D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4" name="Picture 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594244BF-2A42-FDEF-757D-2F84B57D61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301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6F7FAED6-F6A9-D9D0-E4B1-06D756F56DF9}"/>
              </a:ext>
            </a:extLst>
          </p:cNvPr>
          <p:cNvSpPr txBox="1"/>
          <p:nvPr userDrawn="1"/>
        </p:nvSpPr>
        <p:spPr>
          <a:xfrm>
            <a:off x="4322397" y="6578103"/>
            <a:ext cx="3547207" cy="1963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b">
            <a:spAutoFit/>
          </a:bodyPr>
          <a:lstStyle/>
          <a:p>
            <a:pPr algn="ctr" defTabSz="309546" hangingPunct="0">
              <a:lnSpc>
                <a:spcPct val="114000"/>
              </a:lnSpc>
            </a:pPr>
            <a:r>
              <a:rPr lang="en-US" sz="900" kern="0" spc="25">
                <a:ln w="28575">
                  <a:noFill/>
                </a:ln>
                <a:solidFill>
                  <a:srgbClr val="1C1C1C"/>
                </a:solidFill>
                <a:latin typeface="Century Gothic" panose="020B0502020202020204" pitchFamily="34" charset="0"/>
                <a:sym typeface="Helvetica Light"/>
              </a:rPr>
              <a:t>Government Experience Virtual Summit</a:t>
            </a:r>
            <a:endParaRPr lang="en-US" sz="900">
              <a:solidFill>
                <a:srgbClr val="1C1C1C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E6F6D3B-C9FA-9537-BFA6-1518398046C5}"/>
              </a:ext>
            </a:extLst>
          </p:cNvPr>
          <p:cNvCxnSpPr>
            <a:cxnSpLocks/>
          </p:cNvCxnSpPr>
          <p:nvPr userDrawn="1"/>
        </p:nvCxnSpPr>
        <p:spPr>
          <a:xfrm>
            <a:off x="5914887" y="6490384"/>
            <a:ext cx="362226" cy="0"/>
          </a:xfrm>
          <a:prstGeom prst="line">
            <a:avLst/>
          </a:prstGeom>
          <a:ln>
            <a:solidFill>
              <a:srgbClr val="397AAF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26842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8E2F7EE-7709-35BA-E127-C50BC1009EB5}"/>
              </a:ext>
            </a:extLst>
          </p:cNvPr>
          <p:cNvGrpSpPr/>
          <p:nvPr userDrawn="1"/>
        </p:nvGrpSpPr>
        <p:grpSpPr>
          <a:xfrm>
            <a:off x="7392510" y="-3678194"/>
            <a:ext cx="5720108" cy="5720108"/>
            <a:chOff x="105150" y="-3122465"/>
            <a:chExt cx="5720108" cy="5720108"/>
          </a:xfrm>
        </p:grpSpPr>
        <p:sp>
          <p:nvSpPr>
            <p:cNvPr id="13" name="Chord 12">
              <a:extLst>
                <a:ext uri="{FF2B5EF4-FFF2-40B4-BE49-F238E27FC236}">
                  <a16:creationId xmlns:a16="http://schemas.microsoft.com/office/drawing/2014/main" id="{CFC3B866-3DF5-6AE9-F330-2CEFF3126B8E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972540"/>
                <a:gd name="adj2" fmla="val 988089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7" name="Chord 16">
              <a:extLst>
                <a:ext uri="{FF2B5EF4-FFF2-40B4-BE49-F238E27FC236}">
                  <a16:creationId xmlns:a16="http://schemas.microsoft.com/office/drawing/2014/main" id="{77547FDB-7552-1776-A57C-6D2898A85D30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171149"/>
                <a:gd name="adj2" fmla="val 959543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8" name="Chord 17">
              <a:extLst>
                <a:ext uri="{FF2B5EF4-FFF2-40B4-BE49-F238E27FC236}">
                  <a16:creationId xmlns:a16="http://schemas.microsoft.com/office/drawing/2014/main" id="{8E1EBB78-23CA-495F-E7D4-052BBA798DA1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517033"/>
                <a:gd name="adj2" fmla="val 9345714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D368C0C-6AE5-6848-0E96-7325AE63A9B4}"/>
              </a:ext>
            </a:extLst>
          </p:cNvPr>
          <p:cNvGrpSpPr/>
          <p:nvPr userDrawn="1"/>
        </p:nvGrpSpPr>
        <p:grpSpPr>
          <a:xfrm rot="10800000">
            <a:off x="-989286" y="5065531"/>
            <a:ext cx="5720108" cy="5720108"/>
            <a:chOff x="105150" y="-3122465"/>
            <a:chExt cx="5720108" cy="5720108"/>
          </a:xfrm>
        </p:grpSpPr>
        <p:sp>
          <p:nvSpPr>
            <p:cNvPr id="20" name="Chord 19">
              <a:extLst>
                <a:ext uri="{FF2B5EF4-FFF2-40B4-BE49-F238E27FC236}">
                  <a16:creationId xmlns:a16="http://schemas.microsoft.com/office/drawing/2014/main" id="{55C18862-C275-34CA-0FF9-D648867E5C13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215574"/>
                <a:gd name="adj2" fmla="val 9610099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1" name="Chord 20">
              <a:extLst>
                <a:ext uri="{FF2B5EF4-FFF2-40B4-BE49-F238E27FC236}">
                  <a16:creationId xmlns:a16="http://schemas.microsoft.com/office/drawing/2014/main" id="{C643B53E-DE3F-C827-26B2-3F973467D24F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503614"/>
                <a:gd name="adj2" fmla="val 9282250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2" name="Chord 21">
              <a:extLst>
                <a:ext uri="{FF2B5EF4-FFF2-40B4-BE49-F238E27FC236}">
                  <a16:creationId xmlns:a16="http://schemas.microsoft.com/office/drawing/2014/main" id="{8AD67EB1-5666-9C24-2C0E-448AB847B637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82273"/>
                <a:gd name="adj2" fmla="val 8808404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0A24EED9-4ADC-C399-7382-301E46A0CC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913" y="202033"/>
            <a:ext cx="11796171" cy="426720"/>
          </a:xfrm>
        </p:spPr>
        <p:txBody>
          <a:bodyPr wrap="square" lIns="0" tIns="0" rIns="0" bIns="0" anchor="t">
            <a:noAutofit/>
          </a:bodyPr>
          <a:lstStyle>
            <a:lvl1pPr algn="l">
              <a:defRPr sz="2667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F5CDCDF-0943-B2E8-8886-A788DF7179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97913" y="655507"/>
            <a:ext cx="11796171" cy="609600"/>
          </a:xfrm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1600" i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2FA1AA87-ED82-9197-6BF3-32B0F8579B01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3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24" name="Picture 2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78CA3334-FFDD-A2BC-1614-72E1172369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7"/>
            <a:ext cx="1280160" cy="26533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911B165-E62D-38D0-B0E3-A5ABF8702EB3}"/>
              </a:ext>
            </a:extLst>
          </p:cNvPr>
          <p:cNvSpPr txBox="1"/>
          <p:nvPr userDrawn="1"/>
        </p:nvSpPr>
        <p:spPr>
          <a:xfrm>
            <a:off x="9326874" y="6529055"/>
            <a:ext cx="232822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800" i="0">
                <a:solidFill>
                  <a:schemeClr val="bg2">
                    <a:lumMod val="50000"/>
                  </a:schemeClr>
                </a:solidFill>
              </a:rPr>
              <a:t>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3234623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8E2F7EE-7709-35BA-E127-C50BC1009EB5}"/>
              </a:ext>
            </a:extLst>
          </p:cNvPr>
          <p:cNvGrpSpPr/>
          <p:nvPr userDrawn="1"/>
        </p:nvGrpSpPr>
        <p:grpSpPr>
          <a:xfrm>
            <a:off x="7392511" y="-3678194"/>
            <a:ext cx="5720108" cy="5720108"/>
            <a:chOff x="105150" y="-3122465"/>
            <a:chExt cx="5720108" cy="5720108"/>
          </a:xfrm>
        </p:grpSpPr>
        <p:sp>
          <p:nvSpPr>
            <p:cNvPr id="13" name="Chord 12">
              <a:extLst>
                <a:ext uri="{FF2B5EF4-FFF2-40B4-BE49-F238E27FC236}">
                  <a16:creationId xmlns:a16="http://schemas.microsoft.com/office/drawing/2014/main" id="{CFC3B866-3DF5-6AE9-F330-2CEFF3126B8E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972540"/>
                <a:gd name="adj2" fmla="val 988089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7" name="Chord 16">
              <a:extLst>
                <a:ext uri="{FF2B5EF4-FFF2-40B4-BE49-F238E27FC236}">
                  <a16:creationId xmlns:a16="http://schemas.microsoft.com/office/drawing/2014/main" id="{77547FDB-7552-1776-A57C-6D2898A85D30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171149"/>
                <a:gd name="adj2" fmla="val 959543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8" name="Chord 17">
              <a:extLst>
                <a:ext uri="{FF2B5EF4-FFF2-40B4-BE49-F238E27FC236}">
                  <a16:creationId xmlns:a16="http://schemas.microsoft.com/office/drawing/2014/main" id="{8E1EBB78-23CA-495F-E7D4-052BBA798DA1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517033"/>
                <a:gd name="adj2" fmla="val 9345714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D368C0C-6AE5-6848-0E96-7325AE63A9B4}"/>
              </a:ext>
            </a:extLst>
          </p:cNvPr>
          <p:cNvGrpSpPr/>
          <p:nvPr userDrawn="1"/>
        </p:nvGrpSpPr>
        <p:grpSpPr>
          <a:xfrm rot="10800000">
            <a:off x="-989286" y="5065531"/>
            <a:ext cx="5720108" cy="5720108"/>
            <a:chOff x="105150" y="-3122465"/>
            <a:chExt cx="5720108" cy="5720108"/>
          </a:xfrm>
        </p:grpSpPr>
        <p:sp>
          <p:nvSpPr>
            <p:cNvPr id="20" name="Chord 19">
              <a:extLst>
                <a:ext uri="{FF2B5EF4-FFF2-40B4-BE49-F238E27FC236}">
                  <a16:creationId xmlns:a16="http://schemas.microsoft.com/office/drawing/2014/main" id="{55C18862-C275-34CA-0FF9-D648867E5C13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215574"/>
                <a:gd name="adj2" fmla="val 9610099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1" name="Chord 20">
              <a:extLst>
                <a:ext uri="{FF2B5EF4-FFF2-40B4-BE49-F238E27FC236}">
                  <a16:creationId xmlns:a16="http://schemas.microsoft.com/office/drawing/2014/main" id="{C643B53E-DE3F-C827-26B2-3F973467D24F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503614"/>
                <a:gd name="adj2" fmla="val 9282250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2" name="Chord 21">
              <a:extLst>
                <a:ext uri="{FF2B5EF4-FFF2-40B4-BE49-F238E27FC236}">
                  <a16:creationId xmlns:a16="http://schemas.microsoft.com/office/drawing/2014/main" id="{8AD67EB1-5666-9C24-2C0E-448AB847B637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82273"/>
                <a:gd name="adj2" fmla="val 8808404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0A24EED9-4ADC-C399-7382-301E46A0CC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4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F5CDCDF-0943-B2E8-8886-A788DF7179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4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B4044E7-D165-021E-FE1B-FD68226DB0E4}"/>
              </a:ext>
            </a:extLst>
          </p:cNvPr>
          <p:cNvCxnSpPr>
            <a:cxnSpLocks/>
          </p:cNvCxnSpPr>
          <p:nvPr userDrawn="1"/>
        </p:nvCxnSpPr>
        <p:spPr>
          <a:xfrm>
            <a:off x="5243083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2FA1AA87-ED82-9197-6BF3-32B0F8579B01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6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5536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2454FD-9765-741D-733A-A8F260ED2B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565596"/>
            <a:ext cx="10972800" cy="507831"/>
          </a:xfrm>
        </p:spPr>
        <p:txBody>
          <a:bodyPr wrap="square" anchor="b">
            <a:spAutoFit/>
          </a:bodyPr>
          <a:lstStyle>
            <a:lvl1pPr algn="ctr">
              <a:defRPr sz="3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to keep one line if possib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4DFAE47-AC5F-042B-0324-0D2F028FB8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1270896"/>
            <a:ext cx="10972800" cy="369332"/>
          </a:xfrm>
        </p:spPr>
        <p:txBody>
          <a:bodyPr wrap="square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9935F5F-2981-6CAA-93FF-2BD2FB3ED988}"/>
              </a:ext>
            </a:extLst>
          </p:cNvPr>
          <p:cNvCxnSpPr>
            <a:cxnSpLocks/>
          </p:cNvCxnSpPr>
          <p:nvPr userDrawn="1"/>
        </p:nvCxnSpPr>
        <p:spPr>
          <a:xfrm>
            <a:off x="5243078" y="1158465"/>
            <a:ext cx="170584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854429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sion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CBFEBC5-97F1-417D-A2BB-A711DE26DFC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2303" y="0"/>
            <a:ext cx="4535383" cy="5597488"/>
          </a:xfrm>
          <a:custGeom>
            <a:avLst/>
            <a:gdLst>
              <a:gd name="connsiteX0" fmla="*/ 2013 w 9068403"/>
              <a:gd name="connsiteY0" fmla="*/ 0 h 11194976"/>
              <a:gd name="connsiteX1" fmla="*/ 9066391 w 9068403"/>
              <a:gd name="connsiteY1" fmla="*/ 0 h 11194976"/>
              <a:gd name="connsiteX2" fmla="*/ 9066391 w 9068403"/>
              <a:gd name="connsiteY2" fmla="*/ 6639788 h 11194976"/>
              <a:gd name="connsiteX3" fmla="*/ 9068403 w 9068403"/>
              <a:gd name="connsiteY3" fmla="*/ 6660775 h 11194976"/>
              <a:gd name="connsiteX4" fmla="*/ 8830327 w 9068403"/>
              <a:gd name="connsiteY4" fmla="*/ 7235541 h 11194976"/>
              <a:gd name="connsiteX5" fmla="*/ 5108967 w 9068403"/>
              <a:gd name="connsiteY5" fmla="*/ 10956901 h 11194976"/>
              <a:gd name="connsiteX6" fmla="*/ 3959437 w 9068403"/>
              <a:gd name="connsiteY6" fmla="*/ 10956901 h 11194976"/>
              <a:gd name="connsiteX7" fmla="*/ 238076 w 9068403"/>
              <a:gd name="connsiteY7" fmla="*/ 7235541 h 11194976"/>
              <a:gd name="connsiteX8" fmla="*/ 0 w 9068403"/>
              <a:gd name="connsiteY8" fmla="*/ 6660775 h 11194976"/>
              <a:gd name="connsiteX9" fmla="*/ 2013 w 9068403"/>
              <a:gd name="connsiteY9" fmla="*/ 6639770 h 111949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068403" h="11194976">
                <a:moveTo>
                  <a:pt x="2013" y="0"/>
                </a:moveTo>
                <a:lnTo>
                  <a:pt x="9066391" y="0"/>
                </a:lnTo>
                <a:lnTo>
                  <a:pt x="9066391" y="6639788"/>
                </a:lnTo>
                <a:lnTo>
                  <a:pt x="9068403" y="6660775"/>
                </a:lnTo>
                <a:cubicBezTo>
                  <a:pt x="9068403" y="6868799"/>
                  <a:pt x="8989044" y="7076823"/>
                  <a:pt x="8830327" y="7235541"/>
                </a:cubicBezTo>
                <a:lnTo>
                  <a:pt x="5108967" y="10956901"/>
                </a:lnTo>
                <a:cubicBezTo>
                  <a:pt x="4791532" y="11274335"/>
                  <a:pt x="4276870" y="11274335"/>
                  <a:pt x="3959437" y="10956901"/>
                </a:cubicBezTo>
                <a:lnTo>
                  <a:pt x="238076" y="7235541"/>
                </a:lnTo>
                <a:cubicBezTo>
                  <a:pt x="79359" y="7076823"/>
                  <a:pt x="0" y="6868799"/>
                  <a:pt x="0" y="6660775"/>
                </a:cubicBezTo>
                <a:lnTo>
                  <a:pt x="2013" y="663977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03979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 right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E83CA09C-F7F6-D239-0FC2-EEFE42B301A3}"/>
              </a:ext>
            </a:extLst>
          </p:cNvPr>
          <p:cNvGrpSpPr/>
          <p:nvPr userDrawn="1"/>
        </p:nvGrpSpPr>
        <p:grpSpPr>
          <a:xfrm rot="10800000">
            <a:off x="155943" y="4802440"/>
            <a:ext cx="6709295" cy="6709295"/>
            <a:chOff x="105150" y="-3122465"/>
            <a:chExt cx="5720108" cy="5720108"/>
          </a:xfrm>
        </p:grpSpPr>
        <p:sp>
          <p:nvSpPr>
            <p:cNvPr id="12" name="Chord 11">
              <a:extLst>
                <a:ext uri="{FF2B5EF4-FFF2-40B4-BE49-F238E27FC236}">
                  <a16:creationId xmlns:a16="http://schemas.microsoft.com/office/drawing/2014/main" id="{F351D202-AF25-4190-0384-B6F125C3DE3F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099984"/>
                <a:gd name="adj2" fmla="val 9758148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7" name="Chord 16">
              <a:extLst>
                <a:ext uri="{FF2B5EF4-FFF2-40B4-BE49-F238E27FC236}">
                  <a16:creationId xmlns:a16="http://schemas.microsoft.com/office/drawing/2014/main" id="{923E6E34-3618-E102-84DB-90C90A122857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379694"/>
                <a:gd name="adj2" fmla="val 9313731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8" name="Chord 17">
              <a:extLst>
                <a:ext uri="{FF2B5EF4-FFF2-40B4-BE49-F238E27FC236}">
                  <a16:creationId xmlns:a16="http://schemas.microsoft.com/office/drawing/2014/main" id="{9BFD6BFF-3BBE-5966-F0D3-4E2B1E9458C3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673024"/>
                <a:gd name="adj2" fmla="val 8811419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06A1C63-B47D-4DA0-563E-CC7A5CB5EFDF}"/>
              </a:ext>
            </a:extLst>
          </p:cNvPr>
          <p:cNvGrpSpPr/>
          <p:nvPr userDrawn="1"/>
        </p:nvGrpSpPr>
        <p:grpSpPr>
          <a:xfrm>
            <a:off x="6113028" y="-2990654"/>
            <a:ext cx="6921331" cy="6921331"/>
            <a:chOff x="105150" y="-3122465"/>
            <a:chExt cx="5720108" cy="5720108"/>
          </a:xfrm>
        </p:grpSpPr>
        <p:sp>
          <p:nvSpPr>
            <p:cNvPr id="20" name="Chord 19">
              <a:extLst>
                <a:ext uri="{FF2B5EF4-FFF2-40B4-BE49-F238E27FC236}">
                  <a16:creationId xmlns:a16="http://schemas.microsoft.com/office/drawing/2014/main" id="{E0EFE96C-76BB-7751-A64D-FBC44244E4EF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20867905"/>
                <a:gd name="adj2" fmla="val 11478846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1" name="Chord 20">
              <a:extLst>
                <a:ext uri="{FF2B5EF4-FFF2-40B4-BE49-F238E27FC236}">
                  <a16:creationId xmlns:a16="http://schemas.microsoft.com/office/drawing/2014/main" id="{B974DD6D-39AC-B1B7-391B-1D2875CD1385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0769818"/>
                <a:gd name="adj2" fmla="val 11622062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2" name="Chord 21">
              <a:extLst>
                <a:ext uri="{FF2B5EF4-FFF2-40B4-BE49-F238E27FC236}">
                  <a16:creationId xmlns:a16="http://schemas.microsoft.com/office/drawing/2014/main" id="{3A01E600-93A0-A395-9BD6-32EDDFF2A71F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656920"/>
                <a:gd name="adj2" fmla="val 11801938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9" name="Picture Placeholder 14">
            <a:extLst>
              <a:ext uri="{FF2B5EF4-FFF2-40B4-BE49-F238E27FC236}">
                <a16:creationId xmlns:a16="http://schemas.microsoft.com/office/drawing/2014/main" id="{F9AC2DE3-FD03-AEC6-C9F0-042940406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986238" y="2252088"/>
            <a:ext cx="3303575" cy="2226435"/>
          </a:xfrm>
          <a:solidFill>
            <a:schemeClr val="tx1">
              <a:lumMod val="85000"/>
              <a:lumOff val="15000"/>
            </a:schemeClr>
          </a:solidFill>
        </p:spPr>
        <p:txBody>
          <a:bodyPr lIns="274320" tIns="274320" rIns="274320" bIns="274320" anchor="ctr">
            <a:normAutofit/>
          </a:bodyPr>
          <a:lstStyle>
            <a:lvl1pPr marL="0" indent="0" algn="ctr">
              <a:buNone/>
              <a:defRPr sz="24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or drag and drop to add a photo here</a:t>
            </a:r>
          </a:p>
        </p:txBody>
      </p:sp>
      <p:pic>
        <p:nvPicPr>
          <p:cNvPr id="14" name="Picture 13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834EB383-490C-4D5A-5390-787502B543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400" y="1191703"/>
            <a:ext cx="2574333" cy="533048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4422CD37-D087-1F67-0339-380F4FF58591}"/>
              </a:ext>
            </a:extLst>
          </p:cNvPr>
          <p:cNvSpPr/>
          <p:nvPr userDrawn="1"/>
        </p:nvSpPr>
        <p:spPr>
          <a:xfrm>
            <a:off x="624263" y="3751217"/>
            <a:ext cx="1512396" cy="73152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047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9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3" name="Subtitle 2">
            <a:extLst>
              <a:ext uri="{FF2B5EF4-FFF2-40B4-BE49-F238E27FC236}">
                <a16:creationId xmlns:a16="http://schemas.microsoft.com/office/drawing/2014/main" id="{FCF1AD06-3443-A603-C773-4D7D7A42923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4056" y="4027685"/>
            <a:ext cx="6261215" cy="429635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20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A923A578-3984-F728-AB5C-A22613190E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4425" y="2013036"/>
            <a:ext cx="6321588" cy="1606653"/>
          </a:xfrm>
        </p:spPr>
        <p:txBody>
          <a:bodyPr lIns="0" rIns="0" anchor="b">
            <a:noAutofit/>
          </a:bodyPr>
          <a:lstStyle>
            <a:lvl1pPr algn="l">
              <a:defRPr sz="3600" b="1" spc="3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Main Presentation Header Goes Here</a:t>
            </a:r>
          </a:p>
        </p:txBody>
      </p:sp>
    </p:spTree>
    <p:extLst>
      <p:ext uri="{BB962C8B-B14F-4D97-AF65-F5344CB8AC3E}">
        <p14:creationId xmlns:p14="http://schemas.microsoft.com/office/powerpoint/2010/main" val="2664730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BB1A3ACE-96EE-F4FC-E59F-1689CE09CB89}"/>
              </a:ext>
            </a:extLst>
          </p:cNvPr>
          <p:cNvSpPr/>
          <p:nvPr userDrawn="1"/>
        </p:nvSpPr>
        <p:spPr>
          <a:xfrm>
            <a:off x="-3945326" y="-502038"/>
            <a:ext cx="7890651" cy="7890651"/>
          </a:xfrm>
          <a:prstGeom prst="ellipse">
            <a:avLst/>
          </a:prstGeom>
          <a:solidFill>
            <a:schemeClr val="bg2">
              <a:alpha val="62470"/>
            </a:schemeClr>
          </a:solidFill>
          <a:ln w="4445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8761E293-D9B4-0F86-0B0B-6AA5ED2AE0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153" y="6537008"/>
            <a:ext cx="753859" cy="156096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93DE41-638F-98F6-5536-83B2244FB78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37" y="2173548"/>
            <a:ext cx="7104207" cy="3978275"/>
          </a:xfrm>
        </p:spPr>
        <p:txBody>
          <a:bodyPr lIns="0" rIns="0"/>
          <a:lstStyle>
            <a:lvl1pPr marL="0" indent="0">
              <a:buNone/>
              <a:defRPr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88A9E8B-D116-858A-EC47-80BD6AF2BD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37" y="368472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3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6ED60761-73A6-A05D-E6E1-596B967C8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3" y="1241371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38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B13B303-9934-88D1-F879-E130155052E5}"/>
              </a:ext>
            </a:extLst>
          </p:cNvPr>
          <p:cNvCxnSpPr>
            <a:cxnSpLocks/>
          </p:cNvCxnSpPr>
          <p:nvPr userDrawn="1"/>
        </p:nvCxnSpPr>
        <p:spPr>
          <a:xfrm>
            <a:off x="4457701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505FFAB-B692-3082-CDAD-0716C1937B5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651200" y="-207912"/>
            <a:ext cx="7302399" cy="7302399"/>
          </a:xfrm>
          <a:prstGeom prst="chord">
            <a:avLst>
              <a:gd name="adj1" fmla="val 14891008"/>
              <a:gd name="adj2" fmla="val 14728125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</p:spTree>
    <p:extLst>
      <p:ext uri="{BB962C8B-B14F-4D97-AF65-F5344CB8AC3E}">
        <p14:creationId xmlns:p14="http://schemas.microsoft.com/office/powerpoint/2010/main" val="1467903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808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6313D4-977E-A5F2-6EC7-B1462BF548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366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No background, no footer – layout - Click to add slide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4DF489C-64CD-4A63-833D-6B9A60F58F1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5366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D7BB8B2-4A22-8A66-8036-6D8CE72F8D66}"/>
              </a:ext>
            </a:extLst>
          </p:cNvPr>
          <p:cNvCxnSpPr>
            <a:cxnSpLocks/>
          </p:cNvCxnSpPr>
          <p:nvPr userDrawn="1"/>
        </p:nvCxnSpPr>
        <p:spPr>
          <a:xfrm>
            <a:off x="5258844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90645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_WB 2011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D57AA69-8954-7688-0023-7172E72F02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2887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02915" y="4456081"/>
            <a:ext cx="8903722" cy="63188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lnSpc>
                <a:spcPct val="100000"/>
              </a:lnSpc>
              <a:defRPr sz="2400" b="1" cap="none" baseline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[Divider]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E7C0ED0-718F-E5B2-A0DD-B0B8748A601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74067" y="4072189"/>
            <a:ext cx="1150503" cy="113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939524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_WB 2011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D57AA69-8954-7688-0023-7172E72F02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5249"/>
            <a:ext cx="12192000" cy="686723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02915" y="4456081"/>
            <a:ext cx="8903722" cy="63188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lnSpc>
                <a:spcPct val="100000"/>
              </a:lnSpc>
              <a:defRPr sz="2400" b="1" cap="none" baseline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[Divider]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E7C0ED0-718F-E5B2-A0DD-B0B8748A601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74067" y="4072189"/>
            <a:ext cx="1150503" cy="113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8298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_WB 2011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D57AA69-8954-7688-0023-7172E72F02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3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02915" y="4456081"/>
            <a:ext cx="8903722" cy="63188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lnSpc>
                <a:spcPct val="100000"/>
              </a:lnSpc>
              <a:defRPr sz="2400" b="1" cap="none" baseline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[Divider]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E7C0ED0-718F-E5B2-A0DD-B0B8748A601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74067" y="4072189"/>
            <a:ext cx="1150503" cy="113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70745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_WB 2011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D57AA69-8954-7688-0023-7172E72F02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2858"/>
            <a:ext cx="12191999" cy="6853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02915" y="4456081"/>
            <a:ext cx="8903722" cy="63188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lnSpc>
                <a:spcPct val="100000"/>
              </a:lnSpc>
              <a:defRPr sz="2400" b="1" cap="none" baseline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[Divider]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E7C0ED0-718F-E5B2-A0DD-B0B8748A601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74067" y="4072189"/>
            <a:ext cx="1150503" cy="113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81091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_WB 2011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white building with columns and a red stripe&#10;&#10;Description automatically generated">
            <a:extLst>
              <a:ext uri="{FF2B5EF4-FFF2-40B4-BE49-F238E27FC236}">
                <a16:creationId xmlns:a16="http://schemas.microsoft.com/office/drawing/2014/main" id="{F3A6193C-36D8-8A44-13DA-8F3F0A5528A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42"/>
            <a:ext cx="12192000" cy="6853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02915" y="4456081"/>
            <a:ext cx="8903722" cy="63188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lnSpc>
                <a:spcPct val="100000"/>
              </a:lnSpc>
              <a:defRPr sz="2400" b="1" cap="none" baseline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[Divider]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E7C0ED0-718F-E5B2-A0DD-B0B8748A601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74067" y="4072189"/>
            <a:ext cx="1150503" cy="113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678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_WB 2011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uilding with a flag&#10;&#10;Description automatically generated">
            <a:extLst>
              <a:ext uri="{FF2B5EF4-FFF2-40B4-BE49-F238E27FC236}">
                <a16:creationId xmlns:a16="http://schemas.microsoft.com/office/drawing/2014/main" id="{8D3723B8-9BA3-63C8-A8D4-908B87BF97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42"/>
            <a:ext cx="12192000" cy="6853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02915" y="4456081"/>
            <a:ext cx="8903722" cy="63188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lnSpc>
                <a:spcPct val="100000"/>
              </a:lnSpc>
              <a:defRPr sz="2400" b="1" cap="none" baseline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[Divider]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E7C0ED0-718F-E5B2-A0DD-B0B8748A601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74067" y="4072189"/>
            <a:ext cx="1150503" cy="113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5062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_WB 2011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-up of a building&#10;&#10;Description automatically generated">
            <a:extLst>
              <a:ext uri="{FF2B5EF4-FFF2-40B4-BE49-F238E27FC236}">
                <a16:creationId xmlns:a16="http://schemas.microsoft.com/office/drawing/2014/main" id="{A0ACE37D-41A3-6C72-5987-AD1C4921F70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42"/>
            <a:ext cx="12192000" cy="6853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02915" y="4456081"/>
            <a:ext cx="8903722" cy="63188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lnSpc>
                <a:spcPct val="100000"/>
              </a:lnSpc>
              <a:defRPr sz="2400" b="1" cap="none" baseline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[Divider]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E7C0ED0-718F-E5B2-A0DD-B0B8748A601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74067" y="4072189"/>
            <a:ext cx="1150503" cy="113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75073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_WB 2011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-up of a dome&#10;&#10;Description automatically generated">
            <a:extLst>
              <a:ext uri="{FF2B5EF4-FFF2-40B4-BE49-F238E27FC236}">
                <a16:creationId xmlns:a16="http://schemas.microsoft.com/office/drawing/2014/main" id="{2129979B-9217-B259-3594-54E80A35C10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42"/>
            <a:ext cx="12192000" cy="6853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02915" y="4456081"/>
            <a:ext cx="8903722" cy="63188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lnSpc>
                <a:spcPct val="100000"/>
              </a:lnSpc>
              <a:defRPr sz="2400" b="1" cap="none" baseline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[Divider]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E7C0ED0-718F-E5B2-A0DD-B0B8748A601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74067" y="4072189"/>
            <a:ext cx="1150503" cy="113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62340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_WB 2011 Body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o not remove" hidden="1">
            <a:extLst>
              <a:ext uri="{FF2B5EF4-FFF2-40B4-BE49-F238E27FC236}">
                <a16:creationId xmlns:a16="http://schemas.microsoft.com/office/drawing/2014/main" id="{4D61E3EB-86E7-4083-891F-6A3F9A5238C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228600" indent="-228600" algn="ctr">
              <a:buFont typeface="Arial" pitchFamily="34" charset="0"/>
              <a:buChar char="•"/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94267" y="304801"/>
            <a:ext cx="10786533" cy="426021"/>
          </a:xfrm>
          <a:prstGeom prst="rect">
            <a:avLst/>
          </a:prstGeom>
        </p:spPr>
        <p:txBody>
          <a:bodyPr vert="horz" wrap="none" lIns="0" tIns="0" rIns="0" bIns="45720" rtlCol="0" anchor="b" anchorCtr="0">
            <a:noAutofit/>
          </a:bodyPr>
          <a:lstStyle>
            <a:lvl1pPr>
              <a:lnSpc>
                <a:spcPct val="1000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[Body Page]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694267" y="1435608"/>
            <a:ext cx="10789920" cy="4736592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200"/>
            </a:lvl1pPr>
            <a:lvl2pPr>
              <a:spcBef>
                <a:spcPts val="600"/>
              </a:spcBef>
              <a:buClr>
                <a:schemeClr val="accent1"/>
              </a:buClr>
              <a:defRPr sz="1100"/>
            </a:lvl2pPr>
            <a:lvl3pPr>
              <a:spcBef>
                <a:spcPts val="600"/>
              </a:spcBef>
              <a:buClr>
                <a:schemeClr val="accent1"/>
              </a:buClr>
              <a:defRPr sz="105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E980C48D-0CF6-70F8-39BE-6E4611D2F7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4944" y="819913"/>
            <a:ext cx="10785856" cy="294513"/>
          </a:xfrm>
          <a:prstGeom prst="rect">
            <a:avLst/>
          </a:prstGeom>
        </p:spPr>
        <p:txBody>
          <a:bodyPr wrap="square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lang="en-US" sz="1400" b="0" i="1" kern="1200" baseline="0" dirty="0">
                <a:solidFill>
                  <a:schemeClr val="accent2"/>
                </a:solidFill>
                <a:latin typeface="+mn-lt"/>
                <a:ea typeface="ＭＳ Ｐゴシック" pitchFamily="29" charset="-128"/>
                <a:cs typeface="Times New Roman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914164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</a:pPr>
            <a:r>
              <a:rPr lang="en-US"/>
              <a:t>Edit master text styles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5BA4E61D-FA8E-4199-F996-F8746D7BB8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15127" y="6475502"/>
            <a:ext cx="7514364" cy="294513"/>
          </a:xfrm>
          <a:prstGeom prst="rect">
            <a:avLst/>
          </a:prstGeom>
        </p:spPr>
        <p:txBody>
          <a:bodyPr wrap="square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lang="en-US" sz="700" b="0" i="0" kern="1200" baseline="0" dirty="0">
                <a:solidFill>
                  <a:schemeClr val="tx1"/>
                </a:solidFill>
                <a:latin typeface="+mn-lt"/>
                <a:ea typeface="ＭＳ Ｐゴシック" pitchFamily="29" charset="-128"/>
                <a:cs typeface="Times New Roman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914164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</a:pPr>
            <a:r>
              <a:rPr lang="en-US"/>
              <a:t>Edit master text style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D0A8159-1684-90E5-5D31-1403A89C4C68}"/>
              </a:ext>
            </a:extLst>
          </p:cNvPr>
          <p:cNvGrpSpPr/>
          <p:nvPr userDrawn="1"/>
        </p:nvGrpSpPr>
        <p:grpSpPr>
          <a:xfrm>
            <a:off x="-8318" y="1426088"/>
            <a:ext cx="4070045" cy="4819763"/>
            <a:chOff x="-8318" y="1426088"/>
            <a:chExt cx="4070045" cy="4819763"/>
          </a:xfrm>
          <a:solidFill>
            <a:schemeClr val="bg1">
              <a:alpha val="2000"/>
            </a:schemeClr>
          </a:soli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5BCF7C38-4DFC-BD23-F976-A3546DDE3F07}"/>
                </a:ext>
              </a:extLst>
            </p:cNvPr>
            <p:cNvSpPr/>
            <p:nvPr/>
          </p:nvSpPr>
          <p:spPr>
            <a:xfrm>
              <a:off x="-8318" y="1426088"/>
              <a:ext cx="3959116" cy="1664181"/>
            </a:xfrm>
            <a:custGeom>
              <a:avLst/>
              <a:gdLst>
                <a:gd name="connsiteX0" fmla="*/ 1666376 w 3959116"/>
                <a:gd name="connsiteY0" fmla="*/ 104 h 1664181"/>
                <a:gd name="connsiteX1" fmla="*/ 3959116 w 3959116"/>
                <a:gd name="connsiteY1" fmla="*/ 1651859 h 1664181"/>
                <a:gd name="connsiteX2" fmla="*/ 3959116 w 3959116"/>
                <a:gd name="connsiteY2" fmla="*/ 1664181 h 1664181"/>
                <a:gd name="connsiteX3" fmla="*/ 3798866 w 3959116"/>
                <a:gd name="connsiteY3" fmla="*/ 1664181 h 1664181"/>
                <a:gd name="connsiteX4" fmla="*/ 3798866 w 3959116"/>
                <a:gd name="connsiteY4" fmla="*/ 1651859 h 1664181"/>
                <a:gd name="connsiteX5" fmla="*/ 1654055 w 3959116"/>
                <a:gd name="connsiteY5" fmla="*/ 135693 h 1664181"/>
                <a:gd name="connsiteX6" fmla="*/ 53152 w 3959116"/>
                <a:gd name="connsiteY6" fmla="*/ 798243 h 1664181"/>
                <a:gd name="connsiteX7" fmla="*/ 0 w 3959116"/>
                <a:gd name="connsiteY7" fmla="*/ 856498 h 1664181"/>
                <a:gd name="connsiteX8" fmla="*/ 0 w 3959116"/>
                <a:gd name="connsiteY8" fmla="*/ 651533 h 1664181"/>
                <a:gd name="connsiteX9" fmla="*/ 120724 w 3959116"/>
                <a:gd name="connsiteY9" fmla="*/ 542652 h 1664181"/>
                <a:gd name="connsiteX10" fmla="*/ 1666376 w 3959116"/>
                <a:gd name="connsiteY10" fmla="*/ 104 h 1664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59116" h="1664181">
                  <a:moveTo>
                    <a:pt x="1666376" y="104"/>
                  </a:moveTo>
                  <a:cubicBezTo>
                    <a:pt x="2701808" y="104"/>
                    <a:pt x="3626294" y="665731"/>
                    <a:pt x="3959116" y="1651859"/>
                  </a:cubicBezTo>
                  <a:lnTo>
                    <a:pt x="3959116" y="1664181"/>
                  </a:lnTo>
                  <a:lnTo>
                    <a:pt x="3798866" y="1664181"/>
                  </a:lnTo>
                  <a:lnTo>
                    <a:pt x="3798866" y="1651859"/>
                  </a:lnTo>
                  <a:cubicBezTo>
                    <a:pt x="3478382" y="739696"/>
                    <a:pt x="2615522" y="135693"/>
                    <a:pt x="1654055" y="135693"/>
                  </a:cubicBezTo>
                  <a:cubicBezTo>
                    <a:pt x="1031571" y="135693"/>
                    <a:pt x="464551" y="388386"/>
                    <a:pt x="53152" y="798243"/>
                  </a:cubicBezTo>
                  <a:lnTo>
                    <a:pt x="0" y="856498"/>
                  </a:lnTo>
                  <a:lnTo>
                    <a:pt x="0" y="651533"/>
                  </a:lnTo>
                  <a:lnTo>
                    <a:pt x="120724" y="542652"/>
                  </a:lnTo>
                  <a:cubicBezTo>
                    <a:pt x="540291" y="199303"/>
                    <a:pt x="1078562" y="-5287"/>
                    <a:pt x="1666376" y="104"/>
                  </a:cubicBezTo>
                  <a:close/>
                </a:path>
              </a:pathLst>
            </a:custGeom>
            <a:grpFill/>
            <a:ln w="69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A7760FA-C6AD-241E-9526-EFB27039811F}"/>
                </a:ext>
              </a:extLst>
            </p:cNvPr>
            <p:cNvSpPr/>
            <p:nvPr/>
          </p:nvSpPr>
          <p:spPr>
            <a:xfrm>
              <a:off x="-8318" y="3534020"/>
              <a:ext cx="4070045" cy="2711831"/>
            </a:xfrm>
            <a:custGeom>
              <a:avLst/>
              <a:gdLst>
                <a:gd name="connsiteX0" fmla="*/ 1678715 w 4070045"/>
                <a:gd name="connsiteY0" fmla="*/ 0 h 2711831"/>
                <a:gd name="connsiteX1" fmla="*/ 4057724 w 4070045"/>
                <a:gd name="connsiteY1" fmla="*/ 12322 h 2711831"/>
                <a:gd name="connsiteX2" fmla="*/ 4070045 w 4070045"/>
                <a:gd name="connsiteY2" fmla="*/ 295841 h 2711831"/>
                <a:gd name="connsiteX3" fmla="*/ 1654055 w 4070045"/>
                <a:gd name="connsiteY3" fmla="*/ 2711831 h 2711831"/>
                <a:gd name="connsiteX4" fmla="*/ 118531 w 4070045"/>
                <a:gd name="connsiteY4" fmla="*/ 2159148 h 2711831"/>
                <a:gd name="connsiteX5" fmla="*/ 0 w 4070045"/>
                <a:gd name="connsiteY5" fmla="*/ 2051387 h 2711831"/>
                <a:gd name="connsiteX6" fmla="*/ 0 w 4070045"/>
                <a:gd name="connsiteY6" fmla="*/ 1843116 h 2711831"/>
                <a:gd name="connsiteX7" fmla="*/ 53152 w 4070045"/>
                <a:gd name="connsiteY7" fmla="*/ 1901371 h 2711831"/>
                <a:gd name="connsiteX8" fmla="*/ 1654055 w 4070045"/>
                <a:gd name="connsiteY8" fmla="*/ 2563920 h 2711831"/>
                <a:gd name="connsiteX9" fmla="*/ 3922134 w 4070045"/>
                <a:gd name="connsiteY9" fmla="*/ 295841 h 2711831"/>
                <a:gd name="connsiteX10" fmla="*/ 3922134 w 4070045"/>
                <a:gd name="connsiteY10" fmla="*/ 147912 h 2711831"/>
                <a:gd name="connsiteX11" fmla="*/ 1678715 w 4070045"/>
                <a:gd name="connsiteY11" fmla="*/ 147912 h 2711831"/>
                <a:gd name="connsiteX12" fmla="*/ 1678715 w 4070045"/>
                <a:gd name="connsiteY12" fmla="*/ 0 h 2711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070045" h="2711831">
                  <a:moveTo>
                    <a:pt x="1678715" y="0"/>
                  </a:moveTo>
                  <a:lnTo>
                    <a:pt x="4057724" y="12322"/>
                  </a:lnTo>
                  <a:cubicBezTo>
                    <a:pt x="4070045" y="110947"/>
                    <a:pt x="4070045" y="197233"/>
                    <a:pt x="4070045" y="295841"/>
                  </a:cubicBezTo>
                  <a:cubicBezTo>
                    <a:pt x="4070045" y="1627095"/>
                    <a:pt x="2985327" y="2711831"/>
                    <a:pt x="1654055" y="2711831"/>
                  </a:cubicBezTo>
                  <a:cubicBezTo>
                    <a:pt x="1071631" y="2711831"/>
                    <a:pt x="536392" y="2504206"/>
                    <a:pt x="118531" y="2159148"/>
                  </a:cubicBezTo>
                  <a:lnTo>
                    <a:pt x="0" y="2051387"/>
                  </a:lnTo>
                  <a:lnTo>
                    <a:pt x="0" y="1843116"/>
                  </a:lnTo>
                  <a:lnTo>
                    <a:pt x="53152" y="1901371"/>
                  </a:lnTo>
                  <a:cubicBezTo>
                    <a:pt x="464551" y="2311227"/>
                    <a:pt x="1031571" y="2563920"/>
                    <a:pt x="1654055" y="2563920"/>
                  </a:cubicBezTo>
                  <a:cubicBezTo>
                    <a:pt x="2899041" y="2563920"/>
                    <a:pt x="3922134" y="1553149"/>
                    <a:pt x="3922134" y="295841"/>
                  </a:cubicBezTo>
                  <a:cubicBezTo>
                    <a:pt x="3922134" y="246537"/>
                    <a:pt x="3922134" y="197233"/>
                    <a:pt x="3922134" y="147912"/>
                  </a:cubicBezTo>
                  <a:lnTo>
                    <a:pt x="1678715" y="147912"/>
                  </a:lnTo>
                  <a:lnTo>
                    <a:pt x="1678715" y="0"/>
                  </a:lnTo>
                  <a:close/>
                </a:path>
              </a:pathLst>
            </a:custGeom>
            <a:grpFill/>
            <a:ln w="69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2E322DB-0FFB-3DF8-C0B6-AE6F564E2AD9}"/>
                </a:ext>
              </a:extLst>
            </p:cNvPr>
            <p:cNvSpPr/>
            <p:nvPr/>
          </p:nvSpPr>
          <p:spPr>
            <a:xfrm>
              <a:off x="67945" y="2227408"/>
              <a:ext cx="3106261" cy="3155582"/>
            </a:xfrm>
            <a:custGeom>
              <a:avLst/>
              <a:gdLst>
                <a:gd name="connsiteX0" fmla="*/ 88868 w 174958"/>
                <a:gd name="connsiteY0" fmla="*/ 9026 h 177736"/>
                <a:gd name="connsiteX1" fmla="*/ 157602 w 174958"/>
                <a:gd name="connsiteY1" fmla="*/ 47211 h 177736"/>
                <a:gd name="connsiteX2" fmla="*/ 157602 w 174958"/>
                <a:gd name="connsiteY2" fmla="*/ 47211 h 177736"/>
                <a:gd name="connsiteX3" fmla="*/ 167322 w 174958"/>
                <a:gd name="connsiteY3" fmla="*/ 47211 h 177736"/>
                <a:gd name="connsiteX4" fmla="*/ 166628 w 174958"/>
                <a:gd name="connsiteY4" fmla="*/ 45823 h 177736"/>
                <a:gd name="connsiteX5" fmla="*/ 88868 w 174958"/>
                <a:gd name="connsiteY5" fmla="*/ 0 h 177736"/>
                <a:gd name="connsiteX6" fmla="*/ 0 w 174958"/>
                <a:gd name="connsiteY6" fmla="*/ 88868 h 177736"/>
                <a:gd name="connsiteX7" fmla="*/ 88868 w 174958"/>
                <a:gd name="connsiteY7" fmla="*/ 177736 h 177736"/>
                <a:gd name="connsiteX8" fmla="*/ 174959 w 174958"/>
                <a:gd name="connsiteY8" fmla="*/ 112474 h 177736"/>
                <a:gd name="connsiteX9" fmla="*/ 174959 w 174958"/>
                <a:gd name="connsiteY9" fmla="*/ 111779 h 177736"/>
                <a:gd name="connsiteX10" fmla="*/ 90257 w 174958"/>
                <a:gd name="connsiteY10" fmla="*/ 111779 h 177736"/>
                <a:gd name="connsiteX11" fmla="*/ 90257 w 174958"/>
                <a:gd name="connsiteY11" fmla="*/ 121499 h 177736"/>
                <a:gd name="connsiteX12" fmla="*/ 163850 w 174958"/>
                <a:gd name="connsiteY12" fmla="*/ 121499 h 177736"/>
                <a:gd name="connsiteX13" fmla="*/ 89562 w 174958"/>
                <a:gd name="connsiteY13" fmla="*/ 171488 h 177736"/>
                <a:gd name="connsiteX14" fmla="*/ 8331 w 174958"/>
                <a:gd name="connsiteY14" fmla="*/ 90257 h 177736"/>
                <a:gd name="connsiteX15" fmla="*/ 88868 w 174958"/>
                <a:gd name="connsiteY15" fmla="*/ 9026 h 177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4958" h="177736">
                  <a:moveTo>
                    <a:pt x="88868" y="9026"/>
                  </a:moveTo>
                  <a:cubicBezTo>
                    <a:pt x="117334" y="9026"/>
                    <a:pt x="143022" y="23606"/>
                    <a:pt x="157602" y="47211"/>
                  </a:cubicBezTo>
                  <a:lnTo>
                    <a:pt x="157602" y="47211"/>
                  </a:lnTo>
                  <a:lnTo>
                    <a:pt x="167322" y="47211"/>
                  </a:lnTo>
                  <a:lnTo>
                    <a:pt x="166628" y="45823"/>
                  </a:lnTo>
                  <a:cubicBezTo>
                    <a:pt x="150659" y="17357"/>
                    <a:pt x="120805" y="0"/>
                    <a:pt x="88868" y="0"/>
                  </a:cubicBezTo>
                  <a:cubicBezTo>
                    <a:pt x="39574" y="0"/>
                    <a:pt x="0" y="40268"/>
                    <a:pt x="0" y="88868"/>
                  </a:cubicBezTo>
                  <a:cubicBezTo>
                    <a:pt x="0" y="137468"/>
                    <a:pt x="40268" y="177736"/>
                    <a:pt x="88868" y="177736"/>
                  </a:cubicBezTo>
                  <a:cubicBezTo>
                    <a:pt x="129136" y="177736"/>
                    <a:pt x="163850" y="150659"/>
                    <a:pt x="174959" y="112474"/>
                  </a:cubicBezTo>
                  <a:lnTo>
                    <a:pt x="174959" y="111779"/>
                  </a:lnTo>
                  <a:lnTo>
                    <a:pt x="90257" y="111779"/>
                  </a:lnTo>
                  <a:lnTo>
                    <a:pt x="90257" y="121499"/>
                  </a:lnTo>
                  <a:lnTo>
                    <a:pt x="163850" y="121499"/>
                  </a:lnTo>
                  <a:cubicBezTo>
                    <a:pt x="151353" y="152048"/>
                    <a:pt x="122194" y="171488"/>
                    <a:pt x="89562" y="171488"/>
                  </a:cubicBezTo>
                  <a:cubicBezTo>
                    <a:pt x="44434" y="171488"/>
                    <a:pt x="8331" y="134691"/>
                    <a:pt x="8331" y="90257"/>
                  </a:cubicBezTo>
                  <a:cubicBezTo>
                    <a:pt x="8331" y="45823"/>
                    <a:pt x="44434" y="9026"/>
                    <a:pt x="88868" y="9026"/>
                  </a:cubicBezTo>
                  <a:close/>
                </a:path>
              </a:pathLst>
            </a:custGeom>
            <a:grpFill/>
            <a:ln w="69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EB6BAEE-0DC9-F9EE-6DB8-F30B1C1FC02B}"/>
                </a:ext>
              </a:extLst>
            </p:cNvPr>
            <p:cNvSpPr/>
            <p:nvPr userDrawn="1"/>
          </p:nvSpPr>
          <p:spPr>
            <a:xfrm>
              <a:off x="-8318" y="1820638"/>
              <a:ext cx="3515346" cy="1257308"/>
            </a:xfrm>
            <a:custGeom>
              <a:avLst/>
              <a:gdLst>
                <a:gd name="connsiteX0" fmla="*/ 1654054 w 3515346"/>
                <a:gd name="connsiteY0" fmla="*/ 0 h 1257308"/>
                <a:gd name="connsiteX1" fmla="*/ 3503025 w 3515346"/>
                <a:gd name="connsiteY1" fmla="*/ 1244969 h 1257308"/>
                <a:gd name="connsiteX2" fmla="*/ 3515346 w 3515346"/>
                <a:gd name="connsiteY2" fmla="*/ 1257308 h 1257308"/>
                <a:gd name="connsiteX3" fmla="*/ 3355114 w 3515346"/>
                <a:gd name="connsiteY3" fmla="*/ 1257308 h 1257308"/>
                <a:gd name="connsiteX4" fmla="*/ 1666376 w 3515346"/>
                <a:gd name="connsiteY4" fmla="*/ 147911 h 1257308"/>
                <a:gd name="connsiteX5" fmla="*/ 30713 w 3515346"/>
                <a:gd name="connsiteY5" fmla="*/ 1124173 h 1257308"/>
                <a:gd name="connsiteX6" fmla="*/ 0 w 3515346"/>
                <a:gd name="connsiteY6" fmla="*/ 1187649 h 1257308"/>
                <a:gd name="connsiteX7" fmla="*/ 0 w 3515346"/>
                <a:gd name="connsiteY7" fmla="*/ 869995 h 1257308"/>
                <a:gd name="connsiteX8" fmla="*/ 103733 w 3515346"/>
                <a:gd name="connsiteY8" fmla="*/ 731288 h 1257308"/>
                <a:gd name="connsiteX9" fmla="*/ 1654054 w 3515346"/>
                <a:gd name="connsiteY9" fmla="*/ 0 h 1257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15346" h="1257308">
                  <a:moveTo>
                    <a:pt x="1654054" y="0"/>
                  </a:moveTo>
                  <a:cubicBezTo>
                    <a:pt x="2467593" y="0"/>
                    <a:pt x="3194863" y="493055"/>
                    <a:pt x="3503025" y="1244969"/>
                  </a:cubicBezTo>
                  <a:lnTo>
                    <a:pt x="3515346" y="1257308"/>
                  </a:lnTo>
                  <a:lnTo>
                    <a:pt x="3355114" y="1257308"/>
                  </a:lnTo>
                  <a:cubicBezTo>
                    <a:pt x="3059273" y="579342"/>
                    <a:pt x="2393646" y="147911"/>
                    <a:pt x="1666376" y="147911"/>
                  </a:cubicBezTo>
                  <a:cubicBezTo>
                    <a:pt x="963000" y="147911"/>
                    <a:pt x="347014" y="544100"/>
                    <a:pt x="30713" y="1124173"/>
                  </a:cubicBezTo>
                  <a:lnTo>
                    <a:pt x="0" y="1187649"/>
                  </a:lnTo>
                  <a:lnTo>
                    <a:pt x="0" y="869995"/>
                  </a:lnTo>
                  <a:lnTo>
                    <a:pt x="103733" y="731288"/>
                  </a:lnTo>
                  <a:cubicBezTo>
                    <a:pt x="472301" y="284716"/>
                    <a:pt x="1030028" y="0"/>
                    <a:pt x="165405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marL="228600" indent="-228600" algn="ctr">
                <a:buFont typeface="Arial" pitchFamily="34" charset="0"/>
                <a:buChar char="•"/>
              </a:pPr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93CE3F3C-0A45-1ACE-CEB0-0B0916ADAC56}"/>
                </a:ext>
              </a:extLst>
            </p:cNvPr>
            <p:cNvSpPr/>
            <p:nvPr userDrawn="1"/>
          </p:nvSpPr>
          <p:spPr>
            <a:xfrm>
              <a:off x="-8318" y="3891485"/>
              <a:ext cx="3650954" cy="1947596"/>
            </a:xfrm>
            <a:custGeom>
              <a:avLst/>
              <a:gdLst>
                <a:gd name="connsiteX0" fmla="*/ 1333571 w 3650954"/>
                <a:gd name="connsiteY0" fmla="*/ 0 h 1947596"/>
                <a:gd name="connsiteX1" fmla="*/ 3650954 w 3650954"/>
                <a:gd name="connsiteY1" fmla="*/ 0 h 1947596"/>
                <a:gd name="connsiteX2" fmla="*/ 3650954 w 3650954"/>
                <a:gd name="connsiteY2" fmla="*/ 12339 h 1947596"/>
                <a:gd name="connsiteX3" fmla="*/ 3046952 w 3650954"/>
                <a:gd name="connsiteY3" fmla="*/ 1380576 h 1947596"/>
                <a:gd name="connsiteX4" fmla="*/ 1654054 w 3650954"/>
                <a:gd name="connsiteY4" fmla="*/ 1947596 h 1947596"/>
                <a:gd name="connsiteX5" fmla="*/ 103733 w 3650954"/>
                <a:gd name="connsiteY5" fmla="*/ 1216308 h 1947596"/>
                <a:gd name="connsiteX6" fmla="*/ 0 w 3650954"/>
                <a:gd name="connsiteY6" fmla="*/ 1077603 h 1947596"/>
                <a:gd name="connsiteX7" fmla="*/ 0 w 3650954"/>
                <a:gd name="connsiteY7" fmla="*/ 759947 h 1947596"/>
                <a:gd name="connsiteX8" fmla="*/ 30713 w 3650954"/>
                <a:gd name="connsiteY8" fmla="*/ 823423 h 1947596"/>
                <a:gd name="connsiteX9" fmla="*/ 1666376 w 3650954"/>
                <a:gd name="connsiteY9" fmla="*/ 1799685 h 1947596"/>
                <a:gd name="connsiteX10" fmla="*/ 2911362 w 3650954"/>
                <a:gd name="connsiteY10" fmla="*/ 1318951 h 1947596"/>
                <a:gd name="connsiteX11" fmla="*/ 3503025 w 3650954"/>
                <a:gd name="connsiteY11" fmla="*/ 147929 h 1947596"/>
                <a:gd name="connsiteX12" fmla="*/ 1333571 w 3650954"/>
                <a:gd name="connsiteY12" fmla="*/ 147929 h 1947596"/>
                <a:gd name="connsiteX13" fmla="*/ 1333571 w 3650954"/>
                <a:gd name="connsiteY13" fmla="*/ 0 h 1947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50954" h="1947596">
                  <a:moveTo>
                    <a:pt x="1333571" y="0"/>
                  </a:moveTo>
                  <a:lnTo>
                    <a:pt x="3650954" y="0"/>
                  </a:lnTo>
                  <a:lnTo>
                    <a:pt x="3650954" y="12339"/>
                  </a:lnTo>
                  <a:cubicBezTo>
                    <a:pt x="3638615" y="530055"/>
                    <a:pt x="3416739" y="1010789"/>
                    <a:pt x="3046952" y="1380576"/>
                  </a:cubicBezTo>
                  <a:cubicBezTo>
                    <a:pt x="2677147" y="1750363"/>
                    <a:pt x="2171770" y="1947596"/>
                    <a:pt x="1654054" y="1947596"/>
                  </a:cubicBezTo>
                  <a:cubicBezTo>
                    <a:pt x="1030028" y="1947596"/>
                    <a:pt x="472301" y="1662880"/>
                    <a:pt x="103733" y="1216308"/>
                  </a:cubicBezTo>
                  <a:lnTo>
                    <a:pt x="0" y="1077603"/>
                  </a:lnTo>
                  <a:lnTo>
                    <a:pt x="0" y="759947"/>
                  </a:lnTo>
                  <a:lnTo>
                    <a:pt x="30713" y="823423"/>
                  </a:lnTo>
                  <a:cubicBezTo>
                    <a:pt x="347014" y="1403496"/>
                    <a:pt x="963000" y="1799685"/>
                    <a:pt x="1666376" y="1799685"/>
                  </a:cubicBezTo>
                  <a:cubicBezTo>
                    <a:pt x="2122467" y="1799685"/>
                    <a:pt x="2566218" y="1627113"/>
                    <a:pt x="2911362" y="1318951"/>
                  </a:cubicBezTo>
                  <a:cubicBezTo>
                    <a:pt x="3244167" y="1010789"/>
                    <a:pt x="3453721" y="604002"/>
                    <a:pt x="3503025" y="147929"/>
                  </a:cubicBezTo>
                  <a:lnTo>
                    <a:pt x="1333571" y="147929"/>
                  </a:lnTo>
                  <a:lnTo>
                    <a:pt x="1333571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marL="228600" indent="-228600" algn="ctr">
                <a:buFont typeface="Arial" pitchFamily="34" charset="0"/>
                <a:buChar char="•"/>
              </a:pPr>
              <a:endParaRPr lang="en-GB" sz="14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453578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42DFF7C-E8BA-18FB-FCCA-1D940663230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2144941" y="685800"/>
            <a:ext cx="5486400" cy="5486400"/>
          </a:xfrm>
          <a:prstGeom prst="chord">
            <a:avLst>
              <a:gd name="adj1" fmla="val 16223487"/>
              <a:gd name="adj2" fmla="val 5378999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D1D8B176-81DD-993E-D458-A7ECD380E81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37" y="2173548"/>
            <a:ext cx="7104207" cy="3978275"/>
          </a:xfrm>
        </p:spPr>
        <p:txBody>
          <a:bodyPr lIns="0" rIns="0"/>
          <a:lstStyle>
            <a:lvl1pPr marL="0" indent="0">
              <a:buNone/>
              <a:defRPr sz="2400"/>
            </a:lvl1pPr>
            <a:lvl2pPr marL="457189" indent="0">
              <a:buNone/>
              <a:defRPr sz="2000"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19AD460-3D3E-9747-AF81-CB6FC9FC63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37" y="368472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3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BC84EEC-76FE-11AF-2758-6332446040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3" y="1241371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38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B120798-3840-9416-8C48-1E7C0A6A261C}"/>
              </a:ext>
            </a:extLst>
          </p:cNvPr>
          <p:cNvCxnSpPr>
            <a:cxnSpLocks/>
          </p:cNvCxnSpPr>
          <p:nvPr userDrawn="1"/>
        </p:nvCxnSpPr>
        <p:spPr>
          <a:xfrm>
            <a:off x="4457701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42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84">
          <p15:clr>
            <a:srgbClr val="FBAE40"/>
          </p15:clr>
        </p15:guide>
        <p15:guide id="4" pos="7296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_WB 2011 Body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567EE53-A34B-7B8C-D184-C34FEA2CC1D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228600" indent="-228600" algn="ctr">
              <a:buFont typeface="Arial" pitchFamily="34" charset="0"/>
              <a:buChar char="•"/>
            </a:pPr>
            <a:endParaRPr lang="en-US" sz="1400">
              <a:solidFill>
                <a:schemeClr val="tx1"/>
              </a:solidFill>
              <a:latin typeface="Roboto" panose="02000000000000000000" pitchFamily="2" charset="0"/>
            </a:endParaRPr>
          </a:p>
        </p:txBody>
      </p:sp>
      <p:sp>
        <p:nvSpPr>
          <p:cNvPr id="10" name="Do not remove" hidden="1">
            <a:extLst>
              <a:ext uri="{FF2B5EF4-FFF2-40B4-BE49-F238E27FC236}">
                <a16:creationId xmlns:a16="http://schemas.microsoft.com/office/drawing/2014/main" id="{4D61E3EB-86E7-4083-891F-6A3F9A5238C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228600" indent="-228600" algn="ctr">
              <a:buFont typeface="Arial" pitchFamily="34" charset="0"/>
              <a:buChar char="•"/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94267" y="304801"/>
            <a:ext cx="10786533" cy="426021"/>
          </a:xfrm>
          <a:prstGeom prst="rect">
            <a:avLst/>
          </a:prstGeom>
        </p:spPr>
        <p:txBody>
          <a:bodyPr vert="horz" wrap="none" lIns="0" tIns="0" rIns="0" bIns="45720" rtlCol="0" anchor="b" anchorCtr="0">
            <a:noAutofit/>
          </a:bodyPr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[Body Page]</a:t>
            </a: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E980C48D-0CF6-70F8-39BE-6E4611D2F7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4944" y="819913"/>
            <a:ext cx="10785856" cy="294513"/>
          </a:xfrm>
          <a:prstGeom prst="rect">
            <a:avLst/>
          </a:prstGeom>
        </p:spPr>
        <p:txBody>
          <a:bodyPr wrap="square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lang="en-US" sz="1400" b="0" i="1" kern="1200" baseline="0" dirty="0">
                <a:solidFill>
                  <a:schemeClr val="bg1"/>
                </a:solidFill>
                <a:latin typeface="+mn-lt"/>
                <a:ea typeface="ＭＳ Ｐゴシック" pitchFamily="29" charset="-128"/>
                <a:cs typeface="Times New Roman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914164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</a:pPr>
            <a:r>
              <a:rPr lang="en-US"/>
              <a:t>Edit master text styles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5BA4E61D-FA8E-4199-F996-F8746D7BB8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15127" y="6475502"/>
            <a:ext cx="7514364" cy="294513"/>
          </a:xfrm>
          <a:prstGeom prst="rect">
            <a:avLst/>
          </a:prstGeom>
        </p:spPr>
        <p:txBody>
          <a:bodyPr wrap="square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lang="en-US" sz="700" b="0" i="0" kern="1200" baseline="0" dirty="0">
                <a:solidFill>
                  <a:schemeClr val="bg1"/>
                </a:solidFill>
                <a:latin typeface="+mn-lt"/>
                <a:ea typeface="ＭＳ Ｐゴシック" pitchFamily="29" charset="-128"/>
                <a:cs typeface="Times New Roman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914164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</a:pPr>
            <a:r>
              <a:rPr lang="en-US"/>
              <a:t>Edit master text style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D0A8159-1684-90E5-5D31-1403A89C4C68}"/>
              </a:ext>
            </a:extLst>
          </p:cNvPr>
          <p:cNvGrpSpPr/>
          <p:nvPr userDrawn="1"/>
        </p:nvGrpSpPr>
        <p:grpSpPr>
          <a:xfrm>
            <a:off x="-8318" y="1426088"/>
            <a:ext cx="4070045" cy="4819763"/>
            <a:chOff x="-8318" y="1426088"/>
            <a:chExt cx="4070045" cy="4819763"/>
          </a:xfrm>
          <a:solidFill>
            <a:schemeClr val="bg1">
              <a:alpha val="2000"/>
            </a:schemeClr>
          </a:soli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5BCF7C38-4DFC-BD23-F976-A3546DDE3F07}"/>
                </a:ext>
              </a:extLst>
            </p:cNvPr>
            <p:cNvSpPr/>
            <p:nvPr/>
          </p:nvSpPr>
          <p:spPr>
            <a:xfrm>
              <a:off x="-8318" y="1426088"/>
              <a:ext cx="3959116" cy="1664181"/>
            </a:xfrm>
            <a:custGeom>
              <a:avLst/>
              <a:gdLst>
                <a:gd name="connsiteX0" fmla="*/ 1666376 w 3959116"/>
                <a:gd name="connsiteY0" fmla="*/ 104 h 1664181"/>
                <a:gd name="connsiteX1" fmla="*/ 3959116 w 3959116"/>
                <a:gd name="connsiteY1" fmla="*/ 1651859 h 1664181"/>
                <a:gd name="connsiteX2" fmla="*/ 3959116 w 3959116"/>
                <a:gd name="connsiteY2" fmla="*/ 1664181 h 1664181"/>
                <a:gd name="connsiteX3" fmla="*/ 3798866 w 3959116"/>
                <a:gd name="connsiteY3" fmla="*/ 1664181 h 1664181"/>
                <a:gd name="connsiteX4" fmla="*/ 3798866 w 3959116"/>
                <a:gd name="connsiteY4" fmla="*/ 1651859 h 1664181"/>
                <a:gd name="connsiteX5" fmla="*/ 1654055 w 3959116"/>
                <a:gd name="connsiteY5" fmla="*/ 135693 h 1664181"/>
                <a:gd name="connsiteX6" fmla="*/ 53152 w 3959116"/>
                <a:gd name="connsiteY6" fmla="*/ 798243 h 1664181"/>
                <a:gd name="connsiteX7" fmla="*/ 0 w 3959116"/>
                <a:gd name="connsiteY7" fmla="*/ 856498 h 1664181"/>
                <a:gd name="connsiteX8" fmla="*/ 0 w 3959116"/>
                <a:gd name="connsiteY8" fmla="*/ 651533 h 1664181"/>
                <a:gd name="connsiteX9" fmla="*/ 120724 w 3959116"/>
                <a:gd name="connsiteY9" fmla="*/ 542652 h 1664181"/>
                <a:gd name="connsiteX10" fmla="*/ 1666376 w 3959116"/>
                <a:gd name="connsiteY10" fmla="*/ 104 h 1664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59116" h="1664181">
                  <a:moveTo>
                    <a:pt x="1666376" y="104"/>
                  </a:moveTo>
                  <a:cubicBezTo>
                    <a:pt x="2701808" y="104"/>
                    <a:pt x="3626294" y="665731"/>
                    <a:pt x="3959116" y="1651859"/>
                  </a:cubicBezTo>
                  <a:lnTo>
                    <a:pt x="3959116" y="1664181"/>
                  </a:lnTo>
                  <a:lnTo>
                    <a:pt x="3798866" y="1664181"/>
                  </a:lnTo>
                  <a:lnTo>
                    <a:pt x="3798866" y="1651859"/>
                  </a:lnTo>
                  <a:cubicBezTo>
                    <a:pt x="3478382" y="739696"/>
                    <a:pt x="2615522" y="135693"/>
                    <a:pt x="1654055" y="135693"/>
                  </a:cubicBezTo>
                  <a:cubicBezTo>
                    <a:pt x="1031571" y="135693"/>
                    <a:pt x="464551" y="388386"/>
                    <a:pt x="53152" y="798243"/>
                  </a:cubicBezTo>
                  <a:lnTo>
                    <a:pt x="0" y="856498"/>
                  </a:lnTo>
                  <a:lnTo>
                    <a:pt x="0" y="651533"/>
                  </a:lnTo>
                  <a:lnTo>
                    <a:pt x="120724" y="542652"/>
                  </a:lnTo>
                  <a:cubicBezTo>
                    <a:pt x="540291" y="199303"/>
                    <a:pt x="1078562" y="-5287"/>
                    <a:pt x="1666376" y="104"/>
                  </a:cubicBezTo>
                  <a:close/>
                </a:path>
              </a:pathLst>
            </a:custGeom>
            <a:grpFill/>
            <a:ln w="69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A7760FA-C6AD-241E-9526-EFB27039811F}"/>
                </a:ext>
              </a:extLst>
            </p:cNvPr>
            <p:cNvSpPr/>
            <p:nvPr/>
          </p:nvSpPr>
          <p:spPr>
            <a:xfrm>
              <a:off x="-8318" y="3534020"/>
              <a:ext cx="4070045" cy="2711831"/>
            </a:xfrm>
            <a:custGeom>
              <a:avLst/>
              <a:gdLst>
                <a:gd name="connsiteX0" fmla="*/ 1678715 w 4070045"/>
                <a:gd name="connsiteY0" fmla="*/ 0 h 2711831"/>
                <a:gd name="connsiteX1" fmla="*/ 4057724 w 4070045"/>
                <a:gd name="connsiteY1" fmla="*/ 12322 h 2711831"/>
                <a:gd name="connsiteX2" fmla="*/ 4070045 w 4070045"/>
                <a:gd name="connsiteY2" fmla="*/ 295841 h 2711831"/>
                <a:gd name="connsiteX3" fmla="*/ 1654055 w 4070045"/>
                <a:gd name="connsiteY3" fmla="*/ 2711831 h 2711831"/>
                <a:gd name="connsiteX4" fmla="*/ 118531 w 4070045"/>
                <a:gd name="connsiteY4" fmla="*/ 2159148 h 2711831"/>
                <a:gd name="connsiteX5" fmla="*/ 0 w 4070045"/>
                <a:gd name="connsiteY5" fmla="*/ 2051387 h 2711831"/>
                <a:gd name="connsiteX6" fmla="*/ 0 w 4070045"/>
                <a:gd name="connsiteY6" fmla="*/ 1843116 h 2711831"/>
                <a:gd name="connsiteX7" fmla="*/ 53152 w 4070045"/>
                <a:gd name="connsiteY7" fmla="*/ 1901371 h 2711831"/>
                <a:gd name="connsiteX8" fmla="*/ 1654055 w 4070045"/>
                <a:gd name="connsiteY8" fmla="*/ 2563920 h 2711831"/>
                <a:gd name="connsiteX9" fmla="*/ 3922134 w 4070045"/>
                <a:gd name="connsiteY9" fmla="*/ 295841 h 2711831"/>
                <a:gd name="connsiteX10" fmla="*/ 3922134 w 4070045"/>
                <a:gd name="connsiteY10" fmla="*/ 147912 h 2711831"/>
                <a:gd name="connsiteX11" fmla="*/ 1678715 w 4070045"/>
                <a:gd name="connsiteY11" fmla="*/ 147912 h 2711831"/>
                <a:gd name="connsiteX12" fmla="*/ 1678715 w 4070045"/>
                <a:gd name="connsiteY12" fmla="*/ 0 h 2711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070045" h="2711831">
                  <a:moveTo>
                    <a:pt x="1678715" y="0"/>
                  </a:moveTo>
                  <a:lnTo>
                    <a:pt x="4057724" y="12322"/>
                  </a:lnTo>
                  <a:cubicBezTo>
                    <a:pt x="4070045" y="110947"/>
                    <a:pt x="4070045" y="197233"/>
                    <a:pt x="4070045" y="295841"/>
                  </a:cubicBezTo>
                  <a:cubicBezTo>
                    <a:pt x="4070045" y="1627095"/>
                    <a:pt x="2985327" y="2711831"/>
                    <a:pt x="1654055" y="2711831"/>
                  </a:cubicBezTo>
                  <a:cubicBezTo>
                    <a:pt x="1071631" y="2711831"/>
                    <a:pt x="536392" y="2504206"/>
                    <a:pt x="118531" y="2159148"/>
                  </a:cubicBezTo>
                  <a:lnTo>
                    <a:pt x="0" y="2051387"/>
                  </a:lnTo>
                  <a:lnTo>
                    <a:pt x="0" y="1843116"/>
                  </a:lnTo>
                  <a:lnTo>
                    <a:pt x="53152" y="1901371"/>
                  </a:lnTo>
                  <a:cubicBezTo>
                    <a:pt x="464551" y="2311227"/>
                    <a:pt x="1031571" y="2563920"/>
                    <a:pt x="1654055" y="2563920"/>
                  </a:cubicBezTo>
                  <a:cubicBezTo>
                    <a:pt x="2899041" y="2563920"/>
                    <a:pt x="3922134" y="1553149"/>
                    <a:pt x="3922134" y="295841"/>
                  </a:cubicBezTo>
                  <a:cubicBezTo>
                    <a:pt x="3922134" y="246537"/>
                    <a:pt x="3922134" y="197233"/>
                    <a:pt x="3922134" y="147912"/>
                  </a:cubicBezTo>
                  <a:lnTo>
                    <a:pt x="1678715" y="147912"/>
                  </a:lnTo>
                  <a:lnTo>
                    <a:pt x="1678715" y="0"/>
                  </a:lnTo>
                  <a:close/>
                </a:path>
              </a:pathLst>
            </a:custGeom>
            <a:grpFill/>
            <a:ln w="69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2E322DB-0FFB-3DF8-C0B6-AE6F564E2AD9}"/>
                </a:ext>
              </a:extLst>
            </p:cNvPr>
            <p:cNvSpPr/>
            <p:nvPr/>
          </p:nvSpPr>
          <p:spPr>
            <a:xfrm>
              <a:off x="67945" y="2227408"/>
              <a:ext cx="3106261" cy="3155582"/>
            </a:xfrm>
            <a:custGeom>
              <a:avLst/>
              <a:gdLst>
                <a:gd name="connsiteX0" fmla="*/ 88868 w 174958"/>
                <a:gd name="connsiteY0" fmla="*/ 9026 h 177736"/>
                <a:gd name="connsiteX1" fmla="*/ 157602 w 174958"/>
                <a:gd name="connsiteY1" fmla="*/ 47211 h 177736"/>
                <a:gd name="connsiteX2" fmla="*/ 157602 w 174958"/>
                <a:gd name="connsiteY2" fmla="*/ 47211 h 177736"/>
                <a:gd name="connsiteX3" fmla="*/ 167322 w 174958"/>
                <a:gd name="connsiteY3" fmla="*/ 47211 h 177736"/>
                <a:gd name="connsiteX4" fmla="*/ 166628 w 174958"/>
                <a:gd name="connsiteY4" fmla="*/ 45823 h 177736"/>
                <a:gd name="connsiteX5" fmla="*/ 88868 w 174958"/>
                <a:gd name="connsiteY5" fmla="*/ 0 h 177736"/>
                <a:gd name="connsiteX6" fmla="*/ 0 w 174958"/>
                <a:gd name="connsiteY6" fmla="*/ 88868 h 177736"/>
                <a:gd name="connsiteX7" fmla="*/ 88868 w 174958"/>
                <a:gd name="connsiteY7" fmla="*/ 177736 h 177736"/>
                <a:gd name="connsiteX8" fmla="*/ 174959 w 174958"/>
                <a:gd name="connsiteY8" fmla="*/ 112474 h 177736"/>
                <a:gd name="connsiteX9" fmla="*/ 174959 w 174958"/>
                <a:gd name="connsiteY9" fmla="*/ 111779 h 177736"/>
                <a:gd name="connsiteX10" fmla="*/ 90257 w 174958"/>
                <a:gd name="connsiteY10" fmla="*/ 111779 h 177736"/>
                <a:gd name="connsiteX11" fmla="*/ 90257 w 174958"/>
                <a:gd name="connsiteY11" fmla="*/ 121499 h 177736"/>
                <a:gd name="connsiteX12" fmla="*/ 163850 w 174958"/>
                <a:gd name="connsiteY12" fmla="*/ 121499 h 177736"/>
                <a:gd name="connsiteX13" fmla="*/ 89562 w 174958"/>
                <a:gd name="connsiteY13" fmla="*/ 171488 h 177736"/>
                <a:gd name="connsiteX14" fmla="*/ 8331 w 174958"/>
                <a:gd name="connsiteY14" fmla="*/ 90257 h 177736"/>
                <a:gd name="connsiteX15" fmla="*/ 88868 w 174958"/>
                <a:gd name="connsiteY15" fmla="*/ 9026 h 177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4958" h="177736">
                  <a:moveTo>
                    <a:pt x="88868" y="9026"/>
                  </a:moveTo>
                  <a:cubicBezTo>
                    <a:pt x="117334" y="9026"/>
                    <a:pt x="143022" y="23606"/>
                    <a:pt x="157602" y="47211"/>
                  </a:cubicBezTo>
                  <a:lnTo>
                    <a:pt x="157602" y="47211"/>
                  </a:lnTo>
                  <a:lnTo>
                    <a:pt x="167322" y="47211"/>
                  </a:lnTo>
                  <a:lnTo>
                    <a:pt x="166628" y="45823"/>
                  </a:lnTo>
                  <a:cubicBezTo>
                    <a:pt x="150659" y="17357"/>
                    <a:pt x="120805" y="0"/>
                    <a:pt x="88868" y="0"/>
                  </a:cubicBezTo>
                  <a:cubicBezTo>
                    <a:pt x="39574" y="0"/>
                    <a:pt x="0" y="40268"/>
                    <a:pt x="0" y="88868"/>
                  </a:cubicBezTo>
                  <a:cubicBezTo>
                    <a:pt x="0" y="137468"/>
                    <a:pt x="40268" y="177736"/>
                    <a:pt x="88868" y="177736"/>
                  </a:cubicBezTo>
                  <a:cubicBezTo>
                    <a:pt x="129136" y="177736"/>
                    <a:pt x="163850" y="150659"/>
                    <a:pt x="174959" y="112474"/>
                  </a:cubicBezTo>
                  <a:lnTo>
                    <a:pt x="174959" y="111779"/>
                  </a:lnTo>
                  <a:lnTo>
                    <a:pt x="90257" y="111779"/>
                  </a:lnTo>
                  <a:lnTo>
                    <a:pt x="90257" y="121499"/>
                  </a:lnTo>
                  <a:lnTo>
                    <a:pt x="163850" y="121499"/>
                  </a:lnTo>
                  <a:cubicBezTo>
                    <a:pt x="151353" y="152048"/>
                    <a:pt x="122194" y="171488"/>
                    <a:pt x="89562" y="171488"/>
                  </a:cubicBezTo>
                  <a:cubicBezTo>
                    <a:pt x="44434" y="171488"/>
                    <a:pt x="8331" y="134691"/>
                    <a:pt x="8331" y="90257"/>
                  </a:cubicBezTo>
                  <a:cubicBezTo>
                    <a:pt x="8331" y="45823"/>
                    <a:pt x="44434" y="9026"/>
                    <a:pt x="88868" y="9026"/>
                  </a:cubicBezTo>
                  <a:close/>
                </a:path>
              </a:pathLst>
            </a:custGeom>
            <a:grpFill/>
            <a:ln w="69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EB6BAEE-0DC9-F9EE-6DB8-F30B1C1FC02B}"/>
                </a:ext>
              </a:extLst>
            </p:cNvPr>
            <p:cNvSpPr/>
            <p:nvPr userDrawn="1"/>
          </p:nvSpPr>
          <p:spPr>
            <a:xfrm>
              <a:off x="-8318" y="1820638"/>
              <a:ext cx="3515346" cy="1257308"/>
            </a:xfrm>
            <a:custGeom>
              <a:avLst/>
              <a:gdLst>
                <a:gd name="connsiteX0" fmla="*/ 1654054 w 3515346"/>
                <a:gd name="connsiteY0" fmla="*/ 0 h 1257308"/>
                <a:gd name="connsiteX1" fmla="*/ 3503025 w 3515346"/>
                <a:gd name="connsiteY1" fmla="*/ 1244969 h 1257308"/>
                <a:gd name="connsiteX2" fmla="*/ 3515346 w 3515346"/>
                <a:gd name="connsiteY2" fmla="*/ 1257308 h 1257308"/>
                <a:gd name="connsiteX3" fmla="*/ 3355114 w 3515346"/>
                <a:gd name="connsiteY3" fmla="*/ 1257308 h 1257308"/>
                <a:gd name="connsiteX4" fmla="*/ 1666376 w 3515346"/>
                <a:gd name="connsiteY4" fmla="*/ 147911 h 1257308"/>
                <a:gd name="connsiteX5" fmla="*/ 30713 w 3515346"/>
                <a:gd name="connsiteY5" fmla="*/ 1124173 h 1257308"/>
                <a:gd name="connsiteX6" fmla="*/ 0 w 3515346"/>
                <a:gd name="connsiteY6" fmla="*/ 1187649 h 1257308"/>
                <a:gd name="connsiteX7" fmla="*/ 0 w 3515346"/>
                <a:gd name="connsiteY7" fmla="*/ 869995 h 1257308"/>
                <a:gd name="connsiteX8" fmla="*/ 103733 w 3515346"/>
                <a:gd name="connsiteY8" fmla="*/ 731288 h 1257308"/>
                <a:gd name="connsiteX9" fmla="*/ 1654054 w 3515346"/>
                <a:gd name="connsiteY9" fmla="*/ 0 h 1257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15346" h="1257308">
                  <a:moveTo>
                    <a:pt x="1654054" y="0"/>
                  </a:moveTo>
                  <a:cubicBezTo>
                    <a:pt x="2467593" y="0"/>
                    <a:pt x="3194863" y="493055"/>
                    <a:pt x="3503025" y="1244969"/>
                  </a:cubicBezTo>
                  <a:lnTo>
                    <a:pt x="3515346" y="1257308"/>
                  </a:lnTo>
                  <a:lnTo>
                    <a:pt x="3355114" y="1257308"/>
                  </a:lnTo>
                  <a:cubicBezTo>
                    <a:pt x="3059273" y="579342"/>
                    <a:pt x="2393646" y="147911"/>
                    <a:pt x="1666376" y="147911"/>
                  </a:cubicBezTo>
                  <a:cubicBezTo>
                    <a:pt x="963000" y="147911"/>
                    <a:pt x="347014" y="544100"/>
                    <a:pt x="30713" y="1124173"/>
                  </a:cubicBezTo>
                  <a:lnTo>
                    <a:pt x="0" y="1187649"/>
                  </a:lnTo>
                  <a:lnTo>
                    <a:pt x="0" y="869995"/>
                  </a:lnTo>
                  <a:lnTo>
                    <a:pt x="103733" y="731288"/>
                  </a:lnTo>
                  <a:cubicBezTo>
                    <a:pt x="472301" y="284716"/>
                    <a:pt x="1030028" y="0"/>
                    <a:pt x="165405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marL="228600" indent="-228600" algn="ctr">
                <a:buFont typeface="Arial" pitchFamily="34" charset="0"/>
                <a:buChar char="•"/>
              </a:pPr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93CE3F3C-0A45-1ACE-CEB0-0B0916ADAC56}"/>
                </a:ext>
              </a:extLst>
            </p:cNvPr>
            <p:cNvSpPr/>
            <p:nvPr userDrawn="1"/>
          </p:nvSpPr>
          <p:spPr>
            <a:xfrm>
              <a:off x="-8318" y="3891485"/>
              <a:ext cx="3650954" cy="1947596"/>
            </a:xfrm>
            <a:custGeom>
              <a:avLst/>
              <a:gdLst>
                <a:gd name="connsiteX0" fmla="*/ 1333571 w 3650954"/>
                <a:gd name="connsiteY0" fmla="*/ 0 h 1947596"/>
                <a:gd name="connsiteX1" fmla="*/ 3650954 w 3650954"/>
                <a:gd name="connsiteY1" fmla="*/ 0 h 1947596"/>
                <a:gd name="connsiteX2" fmla="*/ 3650954 w 3650954"/>
                <a:gd name="connsiteY2" fmla="*/ 12339 h 1947596"/>
                <a:gd name="connsiteX3" fmla="*/ 3046952 w 3650954"/>
                <a:gd name="connsiteY3" fmla="*/ 1380576 h 1947596"/>
                <a:gd name="connsiteX4" fmla="*/ 1654054 w 3650954"/>
                <a:gd name="connsiteY4" fmla="*/ 1947596 h 1947596"/>
                <a:gd name="connsiteX5" fmla="*/ 103733 w 3650954"/>
                <a:gd name="connsiteY5" fmla="*/ 1216308 h 1947596"/>
                <a:gd name="connsiteX6" fmla="*/ 0 w 3650954"/>
                <a:gd name="connsiteY6" fmla="*/ 1077603 h 1947596"/>
                <a:gd name="connsiteX7" fmla="*/ 0 w 3650954"/>
                <a:gd name="connsiteY7" fmla="*/ 759947 h 1947596"/>
                <a:gd name="connsiteX8" fmla="*/ 30713 w 3650954"/>
                <a:gd name="connsiteY8" fmla="*/ 823423 h 1947596"/>
                <a:gd name="connsiteX9" fmla="*/ 1666376 w 3650954"/>
                <a:gd name="connsiteY9" fmla="*/ 1799685 h 1947596"/>
                <a:gd name="connsiteX10" fmla="*/ 2911362 w 3650954"/>
                <a:gd name="connsiteY10" fmla="*/ 1318951 h 1947596"/>
                <a:gd name="connsiteX11" fmla="*/ 3503025 w 3650954"/>
                <a:gd name="connsiteY11" fmla="*/ 147929 h 1947596"/>
                <a:gd name="connsiteX12" fmla="*/ 1333571 w 3650954"/>
                <a:gd name="connsiteY12" fmla="*/ 147929 h 1947596"/>
                <a:gd name="connsiteX13" fmla="*/ 1333571 w 3650954"/>
                <a:gd name="connsiteY13" fmla="*/ 0 h 1947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50954" h="1947596">
                  <a:moveTo>
                    <a:pt x="1333571" y="0"/>
                  </a:moveTo>
                  <a:lnTo>
                    <a:pt x="3650954" y="0"/>
                  </a:lnTo>
                  <a:lnTo>
                    <a:pt x="3650954" y="12339"/>
                  </a:lnTo>
                  <a:cubicBezTo>
                    <a:pt x="3638615" y="530055"/>
                    <a:pt x="3416739" y="1010789"/>
                    <a:pt x="3046952" y="1380576"/>
                  </a:cubicBezTo>
                  <a:cubicBezTo>
                    <a:pt x="2677147" y="1750363"/>
                    <a:pt x="2171770" y="1947596"/>
                    <a:pt x="1654054" y="1947596"/>
                  </a:cubicBezTo>
                  <a:cubicBezTo>
                    <a:pt x="1030028" y="1947596"/>
                    <a:pt x="472301" y="1662880"/>
                    <a:pt x="103733" y="1216308"/>
                  </a:cubicBezTo>
                  <a:lnTo>
                    <a:pt x="0" y="1077603"/>
                  </a:lnTo>
                  <a:lnTo>
                    <a:pt x="0" y="759947"/>
                  </a:lnTo>
                  <a:lnTo>
                    <a:pt x="30713" y="823423"/>
                  </a:lnTo>
                  <a:cubicBezTo>
                    <a:pt x="347014" y="1403496"/>
                    <a:pt x="963000" y="1799685"/>
                    <a:pt x="1666376" y="1799685"/>
                  </a:cubicBezTo>
                  <a:cubicBezTo>
                    <a:pt x="2122467" y="1799685"/>
                    <a:pt x="2566218" y="1627113"/>
                    <a:pt x="2911362" y="1318951"/>
                  </a:cubicBezTo>
                  <a:cubicBezTo>
                    <a:pt x="3244167" y="1010789"/>
                    <a:pt x="3453721" y="604002"/>
                    <a:pt x="3503025" y="147929"/>
                  </a:cubicBezTo>
                  <a:lnTo>
                    <a:pt x="1333571" y="147929"/>
                  </a:lnTo>
                  <a:lnTo>
                    <a:pt x="1333571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marL="228600" indent="-228600" algn="ctr">
                <a:buFont typeface="Arial" pitchFamily="34" charset="0"/>
                <a:buChar char="•"/>
              </a:pPr>
              <a:endParaRPr lang="en-GB" sz="1400">
                <a:solidFill>
                  <a:schemeClr val="tx1"/>
                </a:solidFill>
              </a:endParaRPr>
            </a:p>
          </p:txBody>
        </p:sp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CB17C9D-C4A9-41DB-0648-7AB35AA929FD}"/>
              </a:ext>
            </a:extLst>
          </p:cNvPr>
          <p:cNvCxnSpPr>
            <a:cxnSpLocks/>
          </p:cNvCxnSpPr>
          <p:nvPr userDrawn="1"/>
        </p:nvCxnSpPr>
        <p:spPr>
          <a:xfrm>
            <a:off x="11267246" y="6516669"/>
            <a:ext cx="0" cy="252331"/>
          </a:xfrm>
          <a:prstGeom prst="line">
            <a:avLst/>
          </a:prstGeom>
          <a:ln w="19050">
            <a:solidFill>
              <a:schemeClr val="bg1">
                <a:alpha val="85000"/>
              </a:schemeClr>
            </a:solidFill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phic 5">
            <a:extLst>
              <a:ext uri="{FF2B5EF4-FFF2-40B4-BE49-F238E27FC236}">
                <a16:creationId xmlns:a16="http://schemas.microsoft.com/office/drawing/2014/main" id="{9256EBC2-897A-E99A-04F2-2DEA68F5D91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788801" y="6507449"/>
            <a:ext cx="1319135" cy="27077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DED1B02-B3A3-6BBA-BC22-EC6303ADC43F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11132742" y="6565890"/>
            <a:ext cx="40975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 defTabSz="914164" rtl="0" eaLnBrk="1" latinLnBrk="0" hangingPunct="1">
              <a:buFont typeface="Arial" pitchFamily="34" charset="0"/>
              <a:buNone/>
            </a:pPr>
            <a:fld id="{790FC2AF-B194-488D-8ACC-F2E58C812CDE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indent="0" algn="r" defTabSz="914164" rtl="0" eaLnBrk="1" latinLnBrk="0" hangingPunct="1">
                <a:buFont typeface="Arial" pitchFamily="34" charset="0"/>
                <a:buNone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7" name="Picture 16" descr="WB_Final_approved.png">
            <a:extLst>
              <a:ext uri="{FF2B5EF4-FFF2-40B4-BE49-F238E27FC236}">
                <a16:creationId xmlns:a16="http://schemas.microsoft.com/office/drawing/2014/main" id="{A2385F3A-CD22-3D25-0172-D3250CBA7467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7" cstate="print">
            <a:lum bright="70000" contrast="-70000"/>
          </a:blip>
          <a:stretch>
            <a:fillRect/>
          </a:stretch>
        </p:blipFill>
        <p:spPr>
          <a:xfrm>
            <a:off x="329941" y="6605996"/>
            <a:ext cx="744618" cy="13446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974BA53-7AB0-9B60-97BC-676057DDD8F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1110835" y="6620158"/>
            <a:ext cx="493685" cy="106142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BA5A6E3-41E6-CC6B-4557-F5B0D8A9F45B}"/>
              </a:ext>
            </a:extLst>
          </p:cNvPr>
          <p:cNvCxnSpPr>
            <a:cxnSpLocks/>
          </p:cNvCxnSpPr>
          <p:nvPr userDrawn="1"/>
        </p:nvCxnSpPr>
        <p:spPr>
          <a:xfrm>
            <a:off x="692908" y="731520"/>
            <a:ext cx="10800080" cy="0"/>
          </a:xfrm>
          <a:prstGeom prst="line">
            <a:avLst/>
          </a:prstGeom>
          <a:ln w="38100">
            <a:solidFill>
              <a:schemeClr val="bg1"/>
            </a:solidFill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646528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_WB 2011 Primary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A3987F5-1E03-9785-B148-975E208A653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  <p:custDataLst>
              <p:tags r:id="rId1"/>
            </p:custDataLst>
          </p:nvPr>
        </p:nvSpPr>
        <p:spPr>
          <a:xfrm>
            <a:off x="6804683" y="4097954"/>
            <a:ext cx="4874374" cy="6318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lnSpc>
                <a:spcPts val="2800"/>
              </a:lnSpc>
              <a:defRPr sz="2400" b="1" cap="none" baseline="0">
                <a:solidFill>
                  <a:schemeClr val="bg1"/>
                </a:solidFill>
                <a:latin typeface="Century Gothic" panose="020B0502020202020204" pitchFamily="34" charset="0"/>
                <a:ea typeface="Open Sans SemiBold" panose="020B0706030804020204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[Title]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57C3B4E-2FD6-9CBB-6922-E81A51AA85E1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8597331" y="4984271"/>
            <a:ext cx="3081726" cy="3302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r">
              <a:lnSpc>
                <a:spcPct val="100000"/>
              </a:lnSpc>
              <a:buNone/>
              <a:defRPr sz="1600" b="0" i="0" baseline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Tahoma" panose="020B0604030504040204" pitchFamily="34" charset="0"/>
              </a:defRPr>
            </a:lvl1pPr>
            <a:lvl2pPr marL="457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5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[Date]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9B9BA2F7-81A3-9D9C-0F56-39613B2CE29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86260" y="6305829"/>
            <a:ext cx="1292797" cy="231427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8B218A4D-FF8A-ECF9-1810-D0B8E906472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21111" y="4025225"/>
            <a:ext cx="5962461" cy="1222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3964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36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500" b="1" i="0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15/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0339646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B_4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9ED694-EEFF-0974-912C-22358B10A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5302AE-5A7F-0710-9E3A-9FD47AF34C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5D88DD-11C6-7ADC-FDA8-D84B02AEE6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5A2BB6D-D019-4321-8BA6-59299BECB9D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5E014C32-3A65-FF08-8EAC-12223E9DB217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1"/>
            </p:custDataLst>
          </p:nvPr>
        </p:nvSpPr>
        <p:spPr>
          <a:xfrm>
            <a:off x="472440" y="781051"/>
            <a:ext cx="11247120" cy="476249"/>
          </a:xfrm>
          <a:prstGeom prst="rect">
            <a:avLst/>
          </a:prstGeom>
        </p:spPr>
        <p:txBody>
          <a:bodyPr wrap="square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lang="en-US" sz="1600" b="0" i="0" kern="1200" baseline="0" dirty="0" smtClean="0">
                <a:solidFill>
                  <a:schemeClr val="accent2"/>
                </a:solidFill>
                <a:latin typeface="+mj-lt"/>
                <a:ea typeface="ＭＳ Ｐゴシック" pitchFamily="29" charset="-128"/>
                <a:cs typeface="Times New Roman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914164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2CA66DF0-E5F6-E51E-090D-6ED8ECD8D64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33160" y="1983740"/>
            <a:ext cx="5486400" cy="1737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139B93C8-7D53-9C5A-4A01-DBCAE617055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72440" y="1983740"/>
            <a:ext cx="5486400" cy="1737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4">
            <a:extLst>
              <a:ext uri="{FF2B5EF4-FFF2-40B4-BE49-F238E27FC236}">
                <a16:creationId xmlns:a16="http://schemas.microsoft.com/office/drawing/2014/main" id="{8E7122DF-BB1F-1C7E-11BE-367D8B9DA29D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472440" y="1865376"/>
            <a:ext cx="5486400" cy="91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bIns="54864" anchor="b" anchorCtr="0">
            <a:noAutofit/>
          </a:bodyPr>
          <a:lstStyle>
            <a:lvl1pPr marL="0" indent="0" algn="ctr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[Header]</a:t>
            </a:r>
          </a:p>
        </p:txBody>
      </p:sp>
      <p:sp>
        <p:nvSpPr>
          <p:cNvPr id="12" name="Content Placeholder 14">
            <a:extLst>
              <a:ext uri="{FF2B5EF4-FFF2-40B4-BE49-F238E27FC236}">
                <a16:creationId xmlns:a16="http://schemas.microsoft.com/office/drawing/2014/main" id="{CBF5EBF8-D6DC-B400-D6F8-F14EB2CD7841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233160" y="1865376"/>
            <a:ext cx="5486400" cy="91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bIns="54864" anchor="b" anchorCtr="0">
            <a:noAutofit/>
          </a:bodyPr>
          <a:lstStyle>
            <a:lvl1pPr marL="0" indent="0" algn="ctr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[Header]</a:t>
            </a:r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38E68860-FD4C-828E-441A-C2FDFA6E5E52}"/>
              </a:ext>
            </a:extLst>
          </p:cNvPr>
          <p:cNvSpPr>
            <a:spLocks noGrp="1"/>
          </p:cNvSpPr>
          <p:nvPr>
            <p:ph sz="quarter" idx="44"/>
          </p:nvPr>
        </p:nvSpPr>
        <p:spPr>
          <a:xfrm>
            <a:off x="6233160" y="4460240"/>
            <a:ext cx="5486400" cy="1737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3EA4C257-CB57-CA6A-D4A1-EB0270F4E07F}"/>
              </a:ext>
            </a:extLst>
          </p:cNvPr>
          <p:cNvSpPr>
            <a:spLocks noGrp="1"/>
          </p:cNvSpPr>
          <p:nvPr>
            <p:ph sz="quarter" idx="45"/>
          </p:nvPr>
        </p:nvSpPr>
        <p:spPr>
          <a:xfrm>
            <a:off x="472440" y="4460240"/>
            <a:ext cx="5486400" cy="1737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0221DD0F-3FF9-7BBE-3A45-9094129CB04C}"/>
              </a:ext>
            </a:extLst>
          </p:cNvPr>
          <p:cNvSpPr>
            <a:spLocks noGrp="1"/>
          </p:cNvSpPr>
          <p:nvPr>
            <p:ph sz="quarter" idx="46" hasCustomPrompt="1"/>
          </p:nvPr>
        </p:nvSpPr>
        <p:spPr>
          <a:xfrm>
            <a:off x="472440" y="4341876"/>
            <a:ext cx="5486400" cy="91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bIns="54864" anchor="b" anchorCtr="0">
            <a:noAutofit/>
          </a:bodyPr>
          <a:lstStyle>
            <a:lvl1pPr marL="0" indent="0" algn="ctr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[Header]</a:t>
            </a:r>
          </a:p>
        </p:txBody>
      </p:sp>
      <p:sp>
        <p:nvSpPr>
          <p:cNvPr id="16" name="Content Placeholder 14">
            <a:extLst>
              <a:ext uri="{FF2B5EF4-FFF2-40B4-BE49-F238E27FC236}">
                <a16:creationId xmlns:a16="http://schemas.microsoft.com/office/drawing/2014/main" id="{A194178A-FFC2-36BA-9E77-043EC6454306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6233160" y="4341876"/>
            <a:ext cx="5486400" cy="91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bIns="54864" anchor="b" anchorCtr="0">
            <a:noAutofit/>
          </a:bodyPr>
          <a:lstStyle>
            <a:lvl1pPr marL="0" indent="0" algn="ctr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[Header]</a:t>
            </a:r>
          </a:p>
        </p:txBody>
      </p:sp>
    </p:spTree>
    <p:extLst>
      <p:ext uri="{BB962C8B-B14F-4D97-AF65-F5344CB8AC3E}">
        <p14:creationId xmlns:p14="http://schemas.microsoft.com/office/powerpoint/2010/main" val="23674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B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5F88E3-31DE-16CB-DFE3-6686C789FD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386E1A0-265A-9212-993E-A1DB931E47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2440" y="6404786"/>
            <a:ext cx="8503920" cy="377014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3C7CB9-3660-1E09-39C9-84191720F2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5A2BB6D-D019-4321-8BA6-59299BECB9D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AF8CE8BA-AD1D-D709-066C-3EFFEDE0738C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1"/>
            </p:custDataLst>
          </p:nvPr>
        </p:nvSpPr>
        <p:spPr>
          <a:xfrm>
            <a:off x="472440" y="781051"/>
            <a:ext cx="11247120" cy="476249"/>
          </a:xfrm>
          <a:prstGeom prst="rect">
            <a:avLst/>
          </a:prstGeom>
        </p:spPr>
        <p:txBody>
          <a:bodyPr wrap="square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lang="en-US" sz="1600" b="0" i="0" kern="1200" baseline="0" dirty="0" smtClean="0">
                <a:solidFill>
                  <a:schemeClr val="accent2"/>
                </a:solidFill>
                <a:latin typeface="+mj-lt"/>
                <a:ea typeface="ＭＳ Ｐゴシック" pitchFamily="29" charset="-128"/>
                <a:cs typeface="Times New Roman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914164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8843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_WB 2011 Primary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123B292F-87C5-35D1-380B-BFF64485C4EF}"/>
              </a:ext>
            </a:extLst>
          </p:cNvPr>
          <p:cNvSpPr/>
          <p:nvPr userDrawn="1"/>
        </p:nvSpPr>
        <p:spPr>
          <a:xfrm>
            <a:off x="103305" y="0"/>
            <a:ext cx="12192000" cy="68580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228600" indent="-228600" algn="ctr">
              <a:buFont typeface="Arial" pitchFamily="34" charset="0"/>
              <a:buChar char="•"/>
            </a:pPr>
            <a:endParaRPr lang="en-GB" sz="1400" err="1">
              <a:solidFill>
                <a:schemeClr val="bg2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DE43F99-C424-060B-236F-48B40198AE1F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11132742" y="6565890"/>
            <a:ext cx="40975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 defTabSz="914164" rtl="0" eaLnBrk="1" latinLnBrk="0" hangingPunct="1">
              <a:buFont typeface="Arial" pitchFamily="34" charset="0"/>
              <a:buNone/>
            </a:pPr>
            <a:fld id="{790FC2AF-B194-488D-8ACC-F2E58C812CDE}" type="slidenum">
              <a:rPr lang="en-US" sz="10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indent="0" algn="r" defTabSz="914164" rtl="0" eaLnBrk="1" latinLnBrk="0" hangingPunct="1">
                <a:buFont typeface="Arial" pitchFamily="34" charset="0"/>
                <a:buNone/>
              </a:pPr>
              <a:t>‹#›</a:t>
            </a:fld>
            <a:endParaRPr lang="en-US" sz="1000" kern="120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E201D34-FB54-104F-5CD3-A59E635B068B}"/>
              </a:ext>
            </a:extLst>
          </p:cNvPr>
          <p:cNvGrpSpPr/>
          <p:nvPr userDrawn="1"/>
        </p:nvGrpSpPr>
        <p:grpSpPr>
          <a:xfrm>
            <a:off x="7618" y="927608"/>
            <a:ext cx="4700127" cy="5565908"/>
            <a:chOff x="-8318" y="1426088"/>
            <a:chExt cx="4070045" cy="4819763"/>
          </a:xfrm>
          <a:solidFill>
            <a:schemeClr val="bg1">
              <a:alpha val="6000"/>
            </a:schemeClr>
          </a:solidFill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F293C0ED-C051-E437-5366-6AB15E53CE32}"/>
                </a:ext>
              </a:extLst>
            </p:cNvPr>
            <p:cNvSpPr/>
            <p:nvPr/>
          </p:nvSpPr>
          <p:spPr>
            <a:xfrm>
              <a:off x="-8318" y="1426088"/>
              <a:ext cx="3959116" cy="1664181"/>
            </a:xfrm>
            <a:custGeom>
              <a:avLst/>
              <a:gdLst>
                <a:gd name="connsiteX0" fmla="*/ 1666376 w 3959116"/>
                <a:gd name="connsiteY0" fmla="*/ 104 h 1664181"/>
                <a:gd name="connsiteX1" fmla="*/ 3959116 w 3959116"/>
                <a:gd name="connsiteY1" fmla="*/ 1651859 h 1664181"/>
                <a:gd name="connsiteX2" fmla="*/ 3959116 w 3959116"/>
                <a:gd name="connsiteY2" fmla="*/ 1664181 h 1664181"/>
                <a:gd name="connsiteX3" fmla="*/ 3798866 w 3959116"/>
                <a:gd name="connsiteY3" fmla="*/ 1664181 h 1664181"/>
                <a:gd name="connsiteX4" fmla="*/ 3798866 w 3959116"/>
                <a:gd name="connsiteY4" fmla="*/ 1651859 h 1664181"/>
                <a:gd name="connsiteX5" fmla="*/ 1654055 w 3959116"/>
                <a:gd name="connsiteY5" fmla="*/ 135693 h 1664181"/>
                <a:gd name="connsiteX6" fmla="*/ 53152 w 3959116"/>
                <a:gd name="connsiteY6" fmla="*/ 798243 h 1664181"/>
                <a:gd name="connsiteX7" fmla="*/ 0 w 3959116"/>
                <a:gd name="connsiteY7" fmla="*/ 856498 h 1664181"/>
                <a:gd name="connsiteX8" fmla="*/ 0 w 3959116"/>
                <a:gd name="connsiteY8" fmla="*/ 651533 h 1664181"/>
                <a:gd name="connsiteX9" fmla="*/ 120724 w 3959116"/>
                <a:gd name="connsiteY9" fmla="*/ 542652 h 1664181"/>
                <a:gd name="connsiteX10" fmla="*/ 1666376 w 3959116"/>
                <a:gd name="connsiteY10" fmla="*/ 104 h 1664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59116" h="1664181">
                  <a:moveTo>
                    <a:pt x="1666376" y="104"/>
                  </a:moveTo>
                  <a:cubicBezTo>
                    <a:pt x="2701808" y="104"/>
                    <a:pt x="3626294" y="665731"/>
                    <a:pt x="3959116" y="1651859"/>
                  </a:cubicBezTo>
                  <a:lnTo>
                    <a:pt x="3959116" y="1664181"/>
                  </a:lnTo>
                  <a:lnTo>
                    <a:pt x="3798866" y="1664181"/>
                  </a:lnTo>
                  <a:lnTo>
                    <a:pt x="3798866" y="1651859"/>
                  </a:lnTo>
                  <a:cubicBezTo>
                    <a:pt x="3478382" y="739696"/>
                    <a:pt x="2615522" y="135693"/>
                    <a:pt x="1654055" y="135693"/>
                  </a:cubicBezTo>
                  <a:cubicBezTo>
                    <a:pt x="1031571" y="135693"/>
                    <a:pt x="464551" y="388386"/>
                    <a:pt x="53152" y="798243"/>
                  </a:cubicBezTo>
                  <a:lnTo>
                    <a:pt x="0" y="856498"/>
                  </a:lnTo>
                  <a:lnTo>
                    <a:pt x="0" y="651533"/>
                  </a:lnTo>
                  <a:lnTo>
                    <a:pt x="120724" y="542652"/>
                  </a:lnTo>
                  <a:cubicBezTo>
                    <a:pt x="540291" y="199303"/>
                    <a:pt x="1078562" y="-5287"/>
                    <a:pt x="1666376" y="104"/>
                  </a:cubicBezTo>
                  <a:close/>
                </a:path>
              </a:pathLst>
            </a:custGeom>
            <a:grpFill/>
            <a:ln w="69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23AC8EAC-CF54-5B7F-863A-A0E75AB5CA86}"/>
                </a:ext>
              </a:extLst>
            </p:cNvPr>
            <p:cNvSpPr/>
            <p:nvPr/>
          </p:nvSpPr>
          <p:spPr>
            <a:xfrm>
              <a:off x="-8318" y="3534020"/>
              <a:ext cx="4070045" cy="2711831"/>
            </a:xfrm>
            <a:custGeom>
              <a:avLst/>
              <a:gdLst>
                <a:gd name="connsiteX0" fmla="*/ 1678715 w 4070045"/>
                <a:gd name="connsiteY0" fmla="*/ 0 h 2711831"/>
                <a:gd name="connsiteX1" fmla="*/ 4057724 w 4070045"/>
                <a:gd name="connsiteY1" fmla="*/ 12322 h 2711831"/>
                <a:gd name="connsiteX2" fmla="*/ 4070045 w 4070045"/>
                <a:gd name="connsiteY2" fmla="*/ 295841 h 2711831"/>
                <a:gd name="connsiteX3" fmla="*/ 1654055 w 4070045"/>
                <a:gd name="connsiteY3" fmla="*/ 2711831 h 2711831"/>
                <a:gd name="connsiteX4" fmla="*/ 118531 w 4070045"/>
                <a:gd name="connsiteY4" fmla="*/ 2159148 h 2711831"/>
                <a:gd name="connsiteX5" fmla="*/ 0 w 4070045"/>
                <a:gd name="connsiteY5" fmla="*/ 2051387 h 2711831"/>
                <a:gd name="connsiteX6" fmla="*/ 0 w 4070045"/>
                <a:gd name="connsiteY6" fmla="*/ 1843116 h 2711831"/>
                <a:gd name="connsiteX7" fmla="*/ 53152 w 4070045"/>
                <a:gd name="connsiteY7" fmla="*/ 1901371 h 2711831"/>
                <a:gd name="connsiteX8" fmla="*/ 1654055 w 4070045"/>
                <a:gd name="connsiteY8" fmla="*/ 2563920 h 2711831"/>
                <a:gd name="connsiteX9" fmla="*/ 3922134 w 4070045"/>
                <a:gd name="connsiteY9" fmla="*/ 295841 h 2711831"/>
                <a:gd name="connsiteX10" fmla="*/ 3922134 w 4070045"/>
                <a:gd name="connsiteY10" fmla="*/ 147912 h 2711831"/>
                <a:gd name="connsiteX11" fmla="*/ 1678715 w 4070045"/>
                <a:gd name="connsiteY11" fmla="*/ 147912 h 2711831"/>
                <a:gd name="connsiteX12" fmla="*/ 1678715 w 4070045"/>
                <a:gd name="connsiteY12" fmla="*/ 0 h 2711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070045" h="2711831">
                  <a:moveTo>
                    <a:pt x="1678715" y="0"/>
                  </a:moveTo>
                  <a:lnTo>
                    <a:pt x="4057724" y="12322"/>
                  </a:lnTo>
                  <a:cubicBezTo>
                    <a:pt x="4070045" y="110947"/>
                    <a:pt x="4070045" y="197233"/>
                    <a:pt x="4070045" y="295841"/>
                  </a:cubicBezTo>
                  <a:cubicBezTo>
                    <a:pt x="4070045" y="1627095"/>
                    <a:pt x="2985327" y="2711831"/>
                    <a:pt x="1654055" y="2711831"/>
                  </a:cubicBezTo>
                  <a:cubicBezTo>
                    <a:pt x="1071631" y="2711831"/>
                    <a:pt x="536392" y="2504206"/>
                    <a:pt x="118531" y="2159148"/>
                  </a:cubicBezTo>
                  <a:lnTo>
                    <a:pt x="0" y="2051387"/>
                  </a:lnTo>
                  <a:lnTo>
                    <a:pt x="0" y="1843116"/>
                  </a:lnTo>
                  <a:lnTo>
                    <a:pt x="53152" y="1901371"/>
                  </a:lnTo>
                  <a:cubicBezTo>
                    <a:pt x="464551" y="2311227"/>
                    <a:pt x="1031571" y="2563920"/>
                    <a:pt x="1654055" y="2563920"/>
                  </a:cubicBezTo>
                  <a:cubicBezTo>
                    <a:pt x="2899041" y="2563920"/>
                    <a:pt x="3922134" y="1553149"/>
                    <a:pt x="3922134" y="295841"/>
                  </a:cubicBezTo>
                  <a:cubicBezTo>
                    <a:pt x="3922134" y="246537"/>
                    <a:pt x="3922134" y="197233"/>
                    <a:pt x="3922134" y="147912"/>
                  </a:cubicBezTo>
                  <a:lnTo>
                    <a:pt x="1678715" y="147912"/>
                  </a:lnTo>
                  <a:lnTo>
                    <a:pt x="1678715" y="0"/>
                  </a:lnTo>
                  <a:close/>
                </a:path>
              </a:pathLst>
            </a:custGeom>
            <a:grpFill/>
            <a:ln w="69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5F97DE1D-133E-B739-C5D2-EE41D3FA273A}"/>
                </a:ext>
              </a:extLst>
            </p:cNvPr>
            <p:cNvSpPr/>
            <p:nvPr/>
          </p:nvSpPr>
          <p:spPr>
            <a:xfrm>
              <a:off x="67945" y="2227408"/>
              <a:ext cx="3106261" cy="3155582"/>
            </a:xfrm>
            <a:custGeom>
              <a:avLst/>
              <a:gdLst>
                <a:gd name="connsiteX0" fmla="*/ 88868 w 174958"/>
                <a:gd name="connsiteY0" fmla="*/ 9026 h 177736"/>
                <a:gd name="connsiteX1" fmla="*/ 157602 w 174958"/>
                <a:gd name="connsiteY1" fmla="*/ 47211 h 177736"/>
                <a:gd name="connsiteX2" fmla="*/ 157602 w 174958"/>
                <a:gd name="connsiteY2" fmla="*/ 47211 h 177736"/>
                <a:gd name="connsiteX3" fmla="*/ 167322 w 174958"/>
                <a:gd name="connsiteY3" fmla="*/ 47211 h 177736"/>
                <a:gd name="connsiteX4" fmla="*/ 166628 w 174958"/>
                <a:gd name="connsiteY4" fmla="*/ 45823 h 177736"/>
                <a:gd name="connsiteX5" fmla="*/ 88868 w 174958"/>
                <a:gd name="connsiteY5" fmla="*/ 0 h 177736"/>
                <a:gd name="connsiteX6" fmla="*/ 0 w 174958"/>
                <a:gd name="connsiteY6" fmla="*/ 88868 h 177736"/>
                <a:gd name="connsiteX7" fmla="*/ 88868 w 174958"/>
                <a:gd name="connsiteY7" fmla="*/ 177736 h 177736"/>
                <a:gd name="connsiteX8" fmla="*/ 174959 w 174958"/>
                <a:gd name="connsiteY8" fmla="*/ 112474 h 177736"/>
                <a:gd name="connsiteX9" fmla="*/ 174959 w 174958"/>
                <a:gd name="connsiteY9" fmla="*/ 111779 h 177736"/>
                <a:gd name="connsiteX10" fmla="*/ 90257 w 174958"/>
                <a:gd name="connsiteY10" fmla="*/ 111779 h 177736"/>
                <a:gd name="connsiteX11" fmla="*/ 90257 w 174958"/>
                <a:gd name="connsiteY11" fmla="*/ 121499 h 177736"/>
                <a:gd name="connsiteX12" fmla="*/ 163850 w 174958"/>
                <a:gd name="connsiteY12" fmla="*/ 121499 h 177736"/>
                <a:gd name="connsiteX13" fmla="*/ 89562 w 174958"/>
                <a:gd name="connsiteY13" fmla="*/ 171488 h 177736"/>
                <a:gd name="connsiteX14" fmla="*/ 8331 w 174958"/>
                <a:gd name="connsiteY14" fmla="*/ 90257 h 177736"/>
                <a:gd name="connsiteX15" fmla="*/ 88868 w 174958"/>
                <a:gd name="connsiteY15" fmla="*/ 9026 h 177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4958" h="177736">
                  <a:moveTo>
                    <a:pt x="88868" y="9026"/>
                  </a:moveTo>
                  <a:cubicBezTo>
                    <a:pt x="117334" y="9026"/>
                    <a:pt x="143022" y="23606"/>
                    <a:pt x="157602" y="47211"/>
                  </a:cubicBezTo>
                  <a:lnTo>
                    <a:pt x="157602" y="47211"/>
                  </a:lnTo>
                  <a:lnTo>
                    <a:pt x="167322" y="47211"/>
                  </a:lnTo>
                  <a:lnTo>
                    <a:pt x="166628" y="45823"/>
                  </a:lnTo>
                  <a:cubicBezTo>
                    <a:pt x="150659" y="17357"/>
                    <a:pt x="120805" y="0"/>
                    <a:pt x="88868" y="0"/>
                  </a:cubicBezTo>
                  <a:cubicBezTo>
                    <a:pt x="39574" y="0"/>
                    <a:pt x="0" y="40268"/>
                    <a:pt x="0" y="88868"/>
                  </a:cubicBezTo>
                  <a:cubicBezTo>
                    <a:pt x="0" y="137468"/>
                    <a:pt x="40268" y="177736"/>
                    <a:pt x="88868" y="177736"/>
                  </a:cubicBezTo>
                  <a:cubicBezTo>
                    <a:pt x="129136" y="177736"/>
                    <a:pt x="163850" y="150659"/>
                    <a:pt x="174959" y="112474"/>
                  </a:cubicBezTo>
                  <a:lnTo>
                    <a:pt x="174959" y="111779"/>
                  </a:lnTo>
                  <a:lnTo>
                    <a:pt x="90257" y="111779"/>
                  </a:lnTo>
                  <a:lnTo>
                    <a:pt x="90257" y="121499"/>
                  </a:lnTo>
                  <a:lnTo>
                    <a:pt x="163850" y="121499"/>
                  </a:lnTo>
                  <a:cubicBezTo>
                    <a:pt x="151353" y="152048"/>
                    <a:pt x="122194" y="171488"/>
                    <a:pt x="89562" y="171488"/>
                  </a:cubicBezTo>
                  <a:cubicBezTo>
                    <a:pt x="44434" y="171488"/>
                    <a:pt x="8331" y="134691"/>
                    <a:pt x="8331" y="90257"/>
                  </a:cubicBezTo>
                  <a:cubicBezTo>
                    <a:pt x="8331" y="45823"/>
                    <a:pt x="44434" y="9026"/>
                    <a:pt x="88868" y="9026"/>
                  </a:cubicBezTo>
                  <a:close/>
                </a:path>
              </a:pathLst>
            </a:custGeom>
            <a:grpFill/>
            <a:ln w="69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FB560B35-BFA2-DA27-5F95-35133DE34D5A}"/>
                </a:ext>
              </a:extLst>
            </p:cNvPr>
            <p:cNvSpPr/>
            <p:nvPr userDrawn="1"/>
          </p:nvSpPr>
          <p:spPr>
            <a:xfrm>
              <a:off x="-8318" y="1820638"/>
              <a:ext cx="3515346" cy="1257308"/>
            </a:xfrm>
            <a:custGeom>
              <a:avLst/>
              <a:gdLst>
                <a:gd name="connsiteX0" fmla="*/ 1654054 w 3515346"/>
                <a:gd name="connsiteY0" fmla="*/ 0 h 1257308"/>
                <a:gd name="connsiteX1" fmla="*/ 3503025 w 3515346"/>
                <a:gd name="connsiteY1" fmla="*/ 1244969 h 1257308"/>
                <a:gd name="connsiteX2" fmla="*/ 3515346 w 3515346"/>
                <a:gd name="connsiteY2" fmla="*/ 1257308 h 1257308"/>
                <a:gd name="connsiteX3" fmla="*/ 3355114 w 3515346"/>
                <a:gd name="connsiteY3" fmla="*/ 1257308 h 1257308"/>
                <a:gd name="connsiteX4" fmla="*/ 1666376 w 3515346"/>
                <a:gd name="connsiteY4" fmla="*/ 147911 h 1257308"/>
                <a:gd name="connsiteX5" fmla="*/ 30713 w 3515346"/>
                <a:gd name="connsiteY5" fmla="*/ 1124173 h 1257308"/>
                <a:gd name="connsiteX6" fmla="*/ 0 w 3515346"/>
                <a:gd name="connsiteY6" fmla="*/ 1187649 h 1257308"/>
                <a:gd name="connsiteX7" fmla="*/ 0 w 3515346"/>
                <a:gd name="connsiteY7" fmla="*/ 869995 h 1257308"/>
                <a:gd name="connsiteX8" fmla="*/ 103733 w 3515346"/>
                <a:gd name="connsiteY8" fmla="*/ 731288 h 1257308"/>
                <a:gd name="connsiteX9" fmla="*/ 1654054 w 3515346"/>
                <a:gd name="connsiteY9" fmla="*/ 0 h 1257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15346" h="1257308">
                  <a:moveTo>
                    <a:pt x="1654054" y="0"/>
                  </a:moveTo>
                  <a:cubicBezTo>
                    <a:pt x="2467593" y="0"/>
                    <a:pt x="3194863" y="493055"/>
                    <a:pt x="3503025" y="1244969"/>
                  </a:cubicBezTo>
                  <a:lnTo>
                    <a:pt x="3515346" y="1257308"/>
                  </a:lnTo>
                  <a:lnTo>
                    <a:pt x="3355114" y="1257308"/>
                  </a:lnTo>
                  <a:cubicBezTo>
                    <a:pt x="3059273" y="579342"/>
                    <a:pt x="2393646" y="147911"/>
                    <a:pt x="1666376" y="147911"/>
                  </a:cubicBezTo>
                  <a:cubicBezTo>
                    <a:pt x="963000" y="147911"/>
                    <a:pt x="347014" y="544100"/>
                    <a:pt x="30713" y="1124173"/>
                  </a:cubicBezTo>
                  <a:lnTo>
                    <a:pt x="0" y="1187649"/>
                  </a:lnTo>
                  <a:lnTo>
                    <a:pt x="0" y="869995"/>
                  </a:lnTo>
                  <a:lnTo>
                    <a:pt x="103733" y="731288"/>
                  </a:lnTo>
                  <a:cubicBezTo>
                    <a:pt x="472301" y="284716"/>
                    <a:pt x="1030028" y="0"/>
                    <a:pt x="165405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marL="228600" indent="-228600" algn="ctr">
                <a:buFont typeface="Arial" pitchFamily="34" charset="0"/>
                <a:buChar char="•"/>
              </a:pPr>
              <a:endParaRPr lang="en-GB" sz="1400" err="1">
                <a:solidFill>
                  <a:schemeClr val="tx1"/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CCC5C194-B808-32F4-2696-E4D251AA04DC}"/>
                </a:ext>
              </a:extLst>
            </p:cNvPr>
            <p:cNvSpPr/>
            <p:nvPr userDrawn="1"/>
          </p:nvSpPr>
          <p:spPr>
            <a:xfrm>
              <a:off x="-8318" y="3891485"/>
              <a:ext cx="3650954" cy="1947596"/>
            </a:xfrm>
            <a:custGeom>
              <a:avLst/>
              <a:gdLst>
                <a:gd name="connsiteX0" fmla="*/ 1333571 w 3650954"/>
                <a:gd name="connsiteY0" fmla="*/ 0 h 1947596"/>
                <a:gd name="connsiteX1" fmla="*/ 3650954 w 3650954"/>
                <a:gd name="connsiteY1" fmla="*/ 0 h 1947596"/>
                <a:gd name="connsiteX2" fmla="*/ 3650954 w 3650954"/>
                <a:gd name="connsiteY2" fmla="*/ 12339 h 1947596"/>
                <a:gd name="connsiteX3" fmla="*/ 3046952 w 3650954"/>
                <a:gd name="connsiteY3" fmla="*/ 1380576 h 1947596"/>
                <a:gd name="connsiteX4" fmla="*/ 1654054 w 3650954"/>
                <a:gd name="connsiteY4" fmla="*/ 1947596 h 1947596"/>
                <a:gd name="connsiteX5" fmla="*/ 103733 w 3650954"/>
                <a:gd name="connsiteY5" fmla="*/ 1216308 h 1947596"/>
                <a:gd name="connsiteX6" fmla="*/ 0 w 3650954"/>
                <a:gd name="connsiteY6" fmla="*/ 1077603 h 1947596"/>
                <a:gd name="connsiteX7" fmla="*/ 0 w 3650954"/>
                <a:gd name="connsiteY7" fmla="*/ 759947 h 1947596"/>
                <a:gd name="connsiteX8" fmla="*/ 30713 w 3650954"/>
                <a:gd name="connsiteY8" fmla="*/ 823423 h 1947596"/>
                <a:gd name="connsiteX9" fmla="*/ 1666376 w 3650954"/>
                <a:gd name="connsiteY9" fmla="*/ 1799685 h 1947596"/>
                <a:gd name="connsiteX10" fmla="*/ 2911362 w 3650954"/>
                <a:gd name="connsiteY10" fmla="*/ 1318951 h 1947596"/>
                <a:gd name="connsiteX11" fmla="*/ 3503025 w 3650954"/>
                <a:gd name="connsiteY11" fmla="*/ 147929 h 1947596"/>
                <a:gd name="connsiteX12" fmla="*/ 1333571 w 3650954"/>
                <a:gd name="connsiteY12" fmla="*/ 147929 h 1947596"/>
                <a:gd name="connsiteX13" fmla="*/ 1333571 w 3650954"/>
                <a:gd name="connsiteY13" fmla="*/ 0 h 1947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50954" h="1947596">
                  <a:moveTo>
                    <a:pt x="1333571" y="0"/>
                  </a:moveTo>
                  <a:lnTo>
                    <a:pt x="3650954" y="0"/>
                  </a:lnTo>
                  <a:lnTo>
                    <a:pt x="3650954" y="12339"/>
                  </a:lnTo>
                  <a:cubicBezTo>
                    <a:pt x="3638615" y="530055"/>
                    <a:pt x="3416739" y="1010789"/>
                    <a:pt x="3046952" y="1380576"/>
                  </a:cubicBezTo>
                  <a:cubicBezTo>
                    <a:pt x="2677147" y="1750363"/>
                    <a:pt x="2171770" y="1947596"/>
                    <a:pt x="1654054" y="1947596"/>
                  </a:cubicBezTo>
                  <a:cubicBezTo>
                    <a:pt x="1030028" y="1947596"/>
                    <a:pt x="472301" y="1662880"/>
                    <a:pt x="103733" y="1216308"/>
                  </a:cubicBezTo>
                  <a:lnTo>
                    <a:pt x="0" y="1077603"/>
                  </a:lnTo>
                  <a:lnTo>
                    <a:pt x="0" y="759947"/>
                  </a:lnTo>
                  <a:lnTo>
                    <a:pt x="30713" y="823423"/>
                  </a:lnTo>
                  <a:cubicBezTo>
                    <a:pt x="347014" y="1403496"/>
                    <a:pt x="963000" y="1799685"/>
                    <a:pt x="1666376" y="1799685"/>
                  </a:cubicBezTo>
                  <a:cubicBezTo>
                    <a:pt x="2122467" y="1799685"/>
                    <a:pt x="2566218" y="1627113"/>
                    <a:pt x="2911362" y="1318951"/>
                  </a:cubicBezTo>
                  <a:cubicBezTo>
                    <a:pt x="3244167" y="1010789"/>
                    <a:pt x="3453721" y="604002"/>
                    <a:pt x="3503025" y="147929"/>
                  </a:cubicBezTo>
                  <a:lnTo>
                    <a:pt x="1333571" y="147929"/>
                  </a:lnTo>
                  <a:lnTo>
                    <a:pt x="1333571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marL="228600" indent="-228600" algn="ctr">
                <a:buFont typeface="Arial" pitchFamily="34" charset="0"/>
                <a:buChar char="•"/>
              </a:pPr>
              <a:endParaRPr lang="en-GB" sz="1400" err="1">
                <a:solidFill>
                  <a:schemeClr val="tx1"/>
                </a:solidFill>
              </a:endParaRP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FD470F1B-BBF6-B0E9-D933-8B539181466A}"/>
              </a:ext>
            </a:extLst>
          </p:cNvPr>
          <p:cNvSpPr/>
          <p:nvPr userDrawn="1"/>
        </p:nvSpPr>
        <p:spPr>
          <a:xfrm>
            <a:off x="0" y="0"/>
            <a:ext cx="9568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228600" indent="-228600" algn="ctr">
              <a:buFont typeface="Arial" pitchFamily="34" charset="0"/>
              <a:buChar char="•"/>
            </a:pPr>
            <a:endParaRPr lang="en-GB" sz="1400" err="1">
              <a:solidFill>
                <a:schemeClr val="tx1"/>
              </a:solidFill>
            </a:endParaRP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DAB421AE-9D13-36CD-291C-A3D5BA788C86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94944" y="301752"/>
            <a:ext cx="10785856" cy="429768"/>
          </a:xfrm>
          <a:prstGeom prst="rect">
            <a:avLst/>
          </a:prstGeom>
        </p:spPr>
        <p:txBody>
          <a:bodyPr vert="horz" lIns="0" tIns="0" rIns="0" bIns="45720" rtlCol="0" anchor="b" anchorCtr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[Page Title]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DA76DFC5-EB20-8E00-DDE6-7C3BAC91F5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4944" y="819913"/>
            <a:ext cx="10785856" cy="294513"/>
          </a:xfrm>
          <a:prstGeom prst="rect">
            <a:avLst/>
          </a:prstGeom>
        </p:spPr>
        <p:txBody>
          <a:bodyPr wrap="square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lang="en-US" sz="1400" b="0" i="1" kern="1200" baseline="0" dirty="0">
                <a:solidFill>
                  <a:schemeClr val="bg1"/>
                </a:solidFill>
                <a:latin typeface="+mn-lt"/>
                <a:ea typeface="ＭＳ Ｐゴシック" pitchFamily="29" charset="-128"/>
                <a:cs typeface="Times New Roman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914164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</a:pPr>
            <a:r>
              <a:rPr lang="en-US"/>
              <a:t>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7618CFA-F71C-2D8B-9E2C-3219123FE581}"/>
              </a:ext>
            </a:extLst>
          </p:cNvPr>
          <p:cNvCxnSpPr>
            <a:cxnSpLocks/>
          </p:cNvCxnSpPr>
          <p:nvPr userDrawn="1"/>
        </p:nvCxnSpPr>
        <p:spPr>
          <a:xfrm>
            <a:off x="692908" y="731520"/>
            <a:ext cx="10800080" cy="0"/>
          </a:xfrm>
          <a:prstGeom prst="line">
            <a:avLst/>
          </a:prstGeom>
          <a:ln w="38100">
            <a:solidFill>
              <a:schemeClr val="accent2"/>
            </a:solidFill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D88B4D3-0339-67AC-71E3-916CAC0C7D50}"/>
              </a:ext>
            </a:extLst>
          </p:cNvPr>
          <p:cNvCxnSpPr>
            <a:cxnSpLocks/>
          </p:cNvCxnSpPr>
          <p:nvPr userDrawn="1"/>
        </p:nvCxnSpPr>
        <p:spPr>
          <a:xfrm>
            <a:off x="11267246" y="6516669"/>
            <a:ext cx="0" cy="252331"/>
          </a:xfrm>
          <a:prstGeom prst="line">
            <a:avLst/>
          </a:prstGeom>
          <a:ln w="19050">
            <a:solidFill>
              <a:srgbClr val="FFFFFF">
                <a:alpha val="85000"/>
              </a:srgbClr>
            </a:solidFill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8F1651D8-B95E-C67D-95C0-85D06CFEAEB7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788801" y="6507449"/>
            <a:ext cx="1319135" cy="270770"/>
          </a:xfrm>
          <a:prstGeom prst="rect">
            <a:avLst/>
          </a:prstGeom>
        </p:spPr>
      </p:pic>
      <p:pic>
        <p:nvPicPr>
          <p:cNvPr id="15" name="Picture 14" descr="WB_Final_approved.png">
            <a:extLst>
              <a:ext uri="{FF2B5EF4-FFF2-40B4-BE49-F238E27FC236}">
                <a16:creationId xmlns:a16="http://schemas.microsoft.com/office/drawing/2014/main" id="{598E14B7-6E0E-3898-535B-70E205786989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7" cstate="print">
            <a:lum bright="70000" contrast="-70000"/>
          </a:blip>
          <a:stretch>
            <a:fillRect/>
          </a:stretch>
        </p:blipFill>
        <p:spPr>
          <a:xfrm>
            <a:off x="329941" y="6605996"/>
            <a:ext cx="744618" cy="13446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B194035-6563-DD13-4F16-0D77A565763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1110835" y="6620158"/>
            <a:ext cx="493685" cy="106142"/>
          </a:xfrm>
          <a:prstGeom prst="rect">
            <a:avLst/>
          </a:prstGeom>
        </p:spPr>
      </p:pic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5B68DD3B-96B2-4882-FAA6-9715F0BF3A8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15127" y="6475502"/>
            <a:ext cx="7514364" cy="294513"/>
          </a:xfrm>
          <a:prstGeom prst="rect">
            <a:avLst/>
          </a:prstGeom>
        </p:spPr>
        <p:txBody>
          <a:bodyPr wrap="square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lang="en-US" sz="700" b="0" i="0" kern="1200" baseline="0" dirty="0">
                <a:solidFill>
                  <a:schemeClr val="bg1"/>
                </a:solidFill>
                <a:latin typeface="+mn-lt"/>
                <a:ea typeface="ＭＳ Ｐゴシック" pitchFamily="29" charset="-128"/>
                <a:cs typeface="Times New Roman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914164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9331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_WB 2011 Primary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A3987F5-1E03-9785-B148-975E208A653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  <p:custDataLst>
              <p:tags r:id="rId1"/>
            </p:custDataLst>
          </p:nvPr>
        </p:nvSpPr>
        <p:spPr>
          <a:xfrm>
            <a:off x="6804683" y="4097954"/>
            <a:ext cx="4874374" cy="6318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lnSpc>
                <a:spcPts val="2800"/>
              </a:lnSpc>
              <a:defRPr sz="2400" b="1" cap="none" baseline="0">
                <a:solidFill>
                  <a:schemeClr val="bg1"/>
                </a:solidFill>
                <a:latin typeface="Century Gothic" panose="020B0502020202020204" pitchFamily="34" charset="0"/>
                <a:ea typeface="Open Sans SemiBold" panose="020B0706030804020204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[Title]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57C3B4E-2FD6-9CBB-6922-E81A51AA85E1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8597331" y="4984271"/>
            <a:ext cx="3081726" cy="3302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r">
              <a:lnSpc>
                <a:spcPct val="100000"/>
              </a:lnSpc>
              <a:buNone/>
              <a:defRPr sz="1600" b="0" i="0" baseline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Tahoma" panose="020B0604030504040204" pitchFamily="34" charset="0"/>
              </a:defRPr>
            </a:lvl1pPr>
            <a:lvl2pPr marL="457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5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[Date]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9B9BA2F7-81A3-9D9C-0F56-39613B2CE29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86260" y="6305829"/>
            <a:ext cx="1292797" cy="231427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8B218A4D-FF8A-ECF9-1810-D0B8E906472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21111" y="4025225"/>
            <a:ext cx="5962461" cy="1222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99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36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_WB 2011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D57AA69-8954-7688-0023-7172E72F02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240631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02915" y="4456081"/>
            <a:ext cx="8903722" cy="63188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lnSpc>
                <a:spcPct val="100000"/>
              </a:lnSpc>
              <a:defRPr sz="2400" b="1" cap="none" baseline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[Divider]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E7C0ED0-718F-E5B2-A0DD-B0B8748A601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74067" y="4072189"/>
            <a:ext cx="1150503" cy="113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14642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_WB 2011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D57AA69-8954-7688-0023-7172E72F02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240631"/>
            <a:ext cx="12192000" cy="686723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02915" y="4456081"/>
            <a:ext cx="8903722" cy="63188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lnSpc>
                <a:spcPct val="100000"/>
              </a:lnSpc>
              <a:defRPr sz="2400" b="1" cap="none" baseline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[Divider]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E7C0ED0-718F-E5B2-A0DD-B0B8748A601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74067" y="4072189"/>
            <a:ext cx="1150503" cy="113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61529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_WB 2011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D57AA69-8954-7688-0023-7172E72F02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3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02915" y="4456081"/>
            <a:ext cx="8903722" cy="63188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lnSpc>
                <a:spcPct val="100000"/>
              </a:lnSpc>
              <a:defRPr sz="2400" b="1" cap="none" baseline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[Divider]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E7C0ED0-718F-E5B2-A0DD-B0B8748A601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74067" y="4072189"/>
            <a:ext cx="1150503" cy="113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24226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42DFF7C-E8BA-18FB-FCCA-1D940663230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2143116" y="685594"/>
            <a:ext cx="5486400" cy="5486400"/>
          </a:xfrm>
          <a:prstGeom prst="chord">
            <a:avLst>
              <a:gd name="adj1" fmla="val 16223487"/>
              <a:gd name="adj2" fmla="val 5378999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  <p:sp>
        <p:nvSpPr>
          <p:cNvPr id="2" name="Arc 1">
            <a:extLst>
              <a:ext uri="{FF2B5EF4-FFF2-40B4-BE49-F238E27FC236}">
                <a16:creationId xmlns:a16="http://schemas.microsoft.com/office/drawing/2014/main" id="{62DA2AC3-83E6-3302-EA43-1F0A2914B1E8}"/>
              </a:ext>
            </a:extLst>
          </p:cNvPr>
          <p:cNvSpPr/>
          <p:nvPr userDrawn="1"/>
        </p:nvSpPr>
        <p:spPr>
          <a:xfrm>
            <a:off x="-2279594" y="538733"/>
            <a:ext cx="5808698" cy="5808698"/>
          </a:xfrm>
          <a:prstGeom prst="arc">
            <a:avLst>
              <a:gd name="adj1" fmla="val 16195710"/>
              <a:gd name="adj2" fmla="val 19585927"/>
            </a:avLst>
          </a:prstGeom>
          <a:ln w="355600">
            <a:solidFill>
              <a:schemeClr val="accent5">
                <a:alpha val="7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22D43CF-FCBA-4908-9209-65A409A55A69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C13DF582-A80A-CF43-F360-B0D52A4F499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37" y="2173548"/>
            <a:ext cx="7104207" cy="3978275"/>
          </a:xfrm>
        </p:spPr>
        <p:txBody>
          <a:bodyPr lIns="0" rIns="0"/>
          <a:lstStyle>
            <a:lvl1pPr marL="0" indent="0">
              <a:buNone/>
              <a:defRPr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525D93A-3502-932A-E1EE-8281677DC6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37" y="368472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3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F9014EBD-CF89-46D7-A57A-3D4B3C3F2EC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3" y="1241371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38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09BEE27-D24F-3768-17B0-EBD09B6F8AF7}"/>
              </a:ext>
            </a:extLst>
          </p:cNvPr>
          <p:cNvCxnSpPr>
            <a:cxnSpLocks/>
          </p:cNvCxnSpPr>
          <p:nvPr userDrawn="1"/>
        </p:nvCxnSpPr>
        <p:spPr>
          <a:xfrm>
            <a:off x="4457701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1835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16">
          <p15:clr>
            <a:srgbClr val="FBAE40"/>
          </p15:clr>
        </p15:guide>
        <p15:guide id="3" pos="384">
          <p15:clr>
            <a:srgbClr val="FBAE40"/>
          </p15:clr>
        </p15:guide>
        <p15:guide id="4" pos="7296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_WB 2011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D57AA69-8954-7688-0023-7172E72F02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240632"/>
            <a:ext cx="12191999" cy="6853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02915" y="4456081"/>
            <a:ext cx="8903722" cy="63188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lnSpc>
                <a:spcPct val="100000"/>
              </a:lnSpc>
              <a:defRPr sz="2400" b="1" cap="none" baseline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[Divider]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E7C0ED0-718F-E5B2-A0DD-B0B8748A601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74067" y="4072189"/>
            <a:ext cx="1150503" cy="113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000865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_WB 2011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D57AA69-8954-7688-0023-7172E72F02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02915" y="4456081"/>
            <a:ext cx="8903722" cy="63188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lnSpc>
                <a:spcPct val="100000"/>
              </a:lnSpc>
              <a:defRPr sz="2400" b="1" cap="none" baseline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[Divider]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E7C0ED0-718F-E5B2-A0DD-B0B8748A601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74067" y="4072189"/>
            <a:ext cx="1150503" cy="113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04685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4AC3BB-D5D2-46C5-9888-85E72747FB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1">
            <a:extLst>
              <a:ext uri="{FF2B5EF4-FFF2-40B4-BE49-F238E27FC236}">
                <a16:creationId xmlns:a16="http://schemas.microsoft.com/office/drawing/2014/main" id="{C91F2769-D324-4920-83C9-34B87D447804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79120" y="1592580"/>
            <a:ext cx="11041380" cy="4434840"/>
          </a:xfrm>
        </p:spPr>
        <p:txBody>
          <a:bodyPr vert="horz" wrap="square" lIns="91440" tIns="36576" rIns="36576" bIns="36576" anchor="t">
            <a:noAutofit/>
          </a:bodyPr>
          <a:lstStyle>
            <a:lvl1pPr marL="2646" indent="0" algn="l">
              <a:lnSpc>
                <a:spcPct val="110000"/>
              </a:lnSpc>
              <a:spcBef>
                <a:spcPct val="0"/>
              </a:spcBef>
              <a:buFontTx/>
              <a:buNone/>
              <a:defRPr sz="10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22859" indent="0" algn="l">
              <a:lnSpc>
                <a:spcPct val="110000"/>
              </a:lnSpc>
              <a:spcBef>
                <a:spcPct val="0"/>
              </a:spcBef>
              <a:buFontTx/>
              <a:buNone/>
              <a:defRPr sz="10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44774" indent="0" algn="l">
              <a:lnSpc>
                <a:spcPct val="110000"/>
              </a:lnSpc>
              <a:spcBef>
                <a:spcPct val="0"/>
              </a:spcBef>
              <a:buFontTx/>
              <a:buNone/>
              <a:defRPr sz="10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281929" indent="0" algn="l">
              <a:lnSpc>
                <a:spcPct val="110000"/>
              </a:lnSpc>
              <a:spcBef>
                <a:spcPct val="0"/>
              </a:spcBef>
              <a:buFontTx/>
              <a:buNone/>
              <a:defRPr sz="10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419083" indent="0" algn="l">
              <a:lnSpc>
                <a:spcPct val="110000"/>
              </a:lnSpc>
              <a:spcBef>
                <a:spcPct val="0"/>
              </a:spcBef>
              <a:buFontTx/>
              <a:buNone/>
              <a:defRPr sz="10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ageSubtitle">
            <a:extLst>
              <a:ext uri="{FF2B5EF4-FFF2-40B4-BE49-F238E27FC236}">
                <a16:creationId xmlns:a16="http://schemas.microsoft.com/office/drawing/2014/main" id="{D0FB0704-8FBA-E21A-ED22-0238B9191F06}"/>
              </a:ext>
            </a:extLst>
          </p:cNvPr>
          <p:cNvSpPr>
            <a:spLocks noGrp="1"/>
          </p:cNvSpPr>
          <p:nvPr>
            <p:ph type="subTitle" sz="quarter" idx="11" hasCustomPrompt="1"/>
          </p:nvPr>
        </p:nvSpPr>
        <p:spPr>
          <a:xfrm>
            <a:off x="381000" y="1002877"/>
            <a:ext cx="11430000" cy="32004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833"/>
              </a:spcBef>
              <a:buFontTx/>
              <a:buNone/>
              <a:defRPr sz="1750" b="0" i="0">
                <a:solidFill>
                  <a:schemeClr val="tx2"/>
                </a:solidFill>
                <a:latin typeface="Century Gothic" panose="020B0502020202020204" pitchFamily="34" charset="0"/>
              </a:defRPr>
            </a:lvl1pPr>
            <a:lvl2pPr marL="380985" indent="0" algn="ctr">
              <a:buNone/>
            </a:lvl2pPr>
            <a:lvl3pPr marL="761970" indent="0" algn="ctr">
              <a:buNone/>
            </a:lvl3pPr>
            <a:lvl4pPr marL="1142954" indent="0" algn="ctr">
              <a:buNone/>
            </a:lvl4pPr>
            <a:lvl5pPr marL="1523939" indent="0" algn="ctr">
              <a:buNone/>
            </a:lvl5pPr>
            <a:lvl6pPr marL="1904924" indent="0" algn="ctr">
              <a:buNone/>
            </a:lvl6pPr>
            <a:lvl7pPr marL="2285909" indent="0" algn="ctr">
              <a:buNone/>
            </a:lvl7pPr>
            <a:lvl8pPr marL="2666893" indent="0" algn="ctr">
              <a:buNone/>
            </a:lvl8pPr>
            <a:lvl9pPr marL="3047878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AAB8B04-DA8B-22A6-25E7-AC2C54281A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06162" y="6484467"/>
            <a:ext cx="7514364" cy="294513"/>
          </a:xfrm>
          <a:prstGeom prst="rect">
            <a:avLst/>
          </a:prstGeom>
        </p:spPr>
        <p:txBody>
          <a:bodyPr wrap="square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lang="en-US" sz="700" b="0" i="0" kern="1200" baseline="0" dirty="0">
                <a:solidFill>
                  <a:schemeClr val="tx1"/>
                </a:solidFill>
                <a:latin typeface="+mn-lt"/>
                <a:ea typeface="ＭＳ Ｐゴシック" pitchFamily="29" charset="-128"/>
                <a:cs typeface="Times New Roman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914164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1899366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_WB 2011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9196564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45BC3A7C-BCFD-B750-7D0B-772549B1C7A6}"/>
              </a:ext>
            </a:extLst>
          </p:cNvPr>
          <p:cNvGrpSpPr/>
          <p:nvPr userDrawn="1"/>
        </p:nvGrpSpPr>
        <p:grpSpPr>
          <a:xfrm rot="10800000">
            <a:off x="155945" y="4802440"/>
            <a:ext cx="6709295" cy="6709295"/>
            <a:chOff x="105150" y="-3122465"/>
            <a:chExt cx="5720108" cy="5720108"/>
          </a:xfrm>
        </p:grpSpPr>
        <p:sp>
          <p:nvSpPr>
            <p:cNvPr id="12" name="Chord 11">
              <a:extLst>
                <a:ext uri="{FF2B5EF4-FFF2-40B4-BE49-F238E27FC236}">
                  <a16:creationId xmlns:a16="http://schemas.microsoft.com/office/drawing/2014/main" id="{B6B36A70-6BBD-CDF2-9148-1821145FB7A1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099984"/>
                <a:gd name="adj2" fmla="val 9758148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6" name="Chord 15">
              <a:extLst>
                <a:ext uri="{FF2B5EF4-FFF2-40B4-BE49-F238E27FC236}">
                  <a16:creationId xmlns:a16="http://schemas.microsoft.com/office/drawing/2014/main" id="{F4F61740-57BE-7A2A-1EBA-F6B143259B55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379694"/>
                <a:gd name="adj2" fmla="val 9313731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7" name="Chord 16">
              <a:extLst>
                <a:ext uri="{FF2B5EF4-FFF2-40B4-BE49-F238E27FC236}">
                  <a16:creationId xmlns:a16="http://schemas.microsoft.com/office/drawing/2014/main" id="{0B4408C5-6A2E-BDCE-74DE-31BB25DE0B20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673024"/>
                <a:gd name="adj2" fmla="val 8811419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900BB82-D5C4-DC18-EC16-D2A669E8A57A}"/>
              </a:ext>
            </a:extLst>
          </p:cNvPr>
          <p:cNvGrpSpPr/>
          <p:nvPr userDrawn="1"/>
        </p:nvGrpSpPr>
        <p:grpSpPr>
          <a:xfrm>
            <a:off x="6113029" y="-2990654"/>
            <a:ext cx="6921331" cy="6921331"/>
            <a:chOff x="105150" y="-3122465"/>
            <a:chExt cx="5720108" cy="5720108"/>
          </a:xfrm>
        </p:grpSpPr>
        <p:sp>
          <p:nvSpPr>
            <p:cNvPr id="19" name="Chord 18">
              <a:extLst>
                <a:ext uri="{FF2B5EF4-FFF2-40B4-BE49-F238E27FC236}">
                  <a16:creationId xmlns:a16="http://schemas.microsoft.com/office/drawing/2014/main" id="{6122E3AB-2C8D-5A6E-75D8-A06F1AE002C8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20867905"/>
                <a:gd name="adj2" fmla="val 11478846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0" name="Chord 19">
              <a:extLst>
                <a:ext uri="{FF2B5EF4-FFF2-40B4-BE49-F238E27FC236}">
                  <a16:creationId xmlns:a16="http://schemas.microsoft.com/office/drawing/2014/main" id="{FB49112F-E4E1-D8E7-9D3F-CC0FE7CE5E0E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0769818"/>
                <a:gd name="adj2" fmla="val 11622062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1" name="Chord 20">
              <a:extLst>
                <a:ext uri="{FF2B5EF4-FFF2-40B4-BE49-F238E27FC236}">
                  <a16:creationId xmlns:a16="http://schemas.microsoft.com/office/drawing/2014/main" id="{C31B000C-5EAC-99AD-AFAF-C8D08AACA09C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656920"/>
                <a:gd name="adj2" fmla="val 11801938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pic>
        <p:nvPicPr>
          <p:cNvPr id="10" name="Picture 9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535980FD-1B8D-F6F1-3B64-BF3D992FB2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400" y="1191703"/>
            <a:ext cx="2574333" cy="533048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578A23FB-FFD9-0F5E-9D4E-D31707400000}"/>
              </a:ext>
            </a:extLst>
          </p:cNvPr>
          <p:cNvSpPr/>
          <p:nvPr userDrawn="1"/>
        </p:nvSpPr>
        <p:spPr>
          <a:xfrm>
            <a:off x="624263" y="3751217"/>
            <a:ext cx="1512396" cy="73152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047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9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6355B56A-CC40-176A-ACDD-7BFF5CE504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4056" y="4027685"/>
            <a:ext cx="6261215" cy="429635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20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4BF26FE3-040B-2A0D-5CE1-29756A2F53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4426" y="2013036"/>
            <a:ext cx="6321588" cy="1606653"/>
          </a:xfrm>
        </p:spPr>
        <p:txBody>
          <a:bodyPr lIns="0" rIns="0" anchor="b">
            <a:noAutofit/>
          </a:bodyPr>
          <a:lstStyle>
            <a:lvl1pPr algn="l">
              <a:defRPr sz="3600" b="1" spc="3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4739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  <p15:guide id="3" pos="384">
          <p15:clr>
            <a:srgbClr val="FBAE40"/>
          </p15:clr>
        </p15:guide>
        <p15:guide id="4" pos="9728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lock Arc 18">
            <a:extLst>
              <a:ext uri="{FF2B5EF4-FFF2-40B4-BE49-F238E27FC236}">
                <a16:creationId xmlns:a16="http://schemas.microsoft.com/office/drawing/2014/main" id="{6122E3AB-2C8D-5A6E-75D8-A06F1AE002C8}"/>
              </a:ext>
            </a:extLst>
          </p:cNvPr>
          <p:cNvSpPr/>
          <p:nvPr/>
        </p:nvSpPr>
        <p:spPr>
          <a:xfrm>
            <a:off x="6636580" y="783624"/>
            <a:ext cx="5313683" cy="5313683"/>
          </a:xfrm>
          <a:prstGeom prst="blockArc">
            <a:avLst>
              <a:gd name="adj1" fmla="val 13683030"/>
              <a:gd name="adj2" fmla="val 6279444"/>
              <a:gd name="adj3" fmla="val 12795"/>
            </a:avLst>
          </a:prstGeom>
          <a:solidFill>
            <a:schemeClr val="accent5">
              <a:alpha val="9298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1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4" name="Picture Placeholder 10">
            <a:extLst>
              <a:ext uri="{FF2B5EF4-FFF2-40B4-BE49-F238E27FC236}">
                <a16:creationId xmlns:a16="http://schemas.microsoft.com/office/drawing/2014/main" id="{E1C5DE5F-480E-BAED-0FCF-F228673A2F9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765291" y="1911210"/>
            <a:ext cx="3056259" cy="3058511"/>
          </a:xfrm>
          <a:prstGeom prst="ellipse">
            <a:avLst/>
          </a:prstGeom>
          <a:solidFill>
            <a:schemeClr val="bg1"/>
          </a:solidFill>
          <a:ln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5BC3A7C-BCFD-B750-7D0B-772549B1C7A6}"/>
              </a:ext>
            </a:extLst>
          </p:cNvPr>
          <p:cNvGrpSpPr/>
          <p:nvPr userDrawn="1"/>
        </p:nvGrpSpPr>
        <p:grpSpPr>
          <a:xfrm rot="10800000">
            <a:off x="-122569" y="5165511"/>
            <a:ext cx="6709295" cy="6709295"/>
            <a:chOff x="105150" y="-3122465"/>
            <a:chExt cx="5720108" cy="5720108"/>
          </a:xfrm>
        </p:grpSpPr>
        <p:sp>
          <p:nvSpPr>
            <p:cNvPr id="12" name="Chord 11">
              <a:extLst>
                <a:ext uri="{FF2B5EF4-FFF2-40B4-BE49-F238E27FC236}">
                  <a16:creationId xmlns:a16="http://schemas.microsoft.com/office/drawing/2014/main" id="{B6B36A70-6BBD-CDF2-9148-1821145FB7A1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776102"/>
                <a:gd name="adj2" fmla="val 9068291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6" name="Chord 15">
              <a:extLst>
                <a:ext uri="{FF2B5EF4-FFF2-40B4-BE49-F238E27FC236}">
                  <a16:creationId xmlns:a16="http://schemas.microsoft.com/office/drawing/2014/main" id="{F4F61740-57BE-7A2A-1EBA-F6B143259B55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208207"/>
                <a:gd name="adj2" fmla="val 8625623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7" name="Chord 16">
              <a:extLst>
                <a:ext uri="{FF2B5EF4-FFF2-40B4-BE49-F238E27FC236}">
                  <a16:creationId xmlns:a16="http://schemas.microsoft.com/office/drawing/2014/main" id="{0B4408C5-6A2E-BDCE-74DE-31BB25DE0B20}"/>
                </a:ext>
              </a:extLst>
            </p:cNvPr>
            <p:cNvSpPr/>
            <p:nvPr userDrawn="1"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3199219"/>
                <a:gd name="adj2" fmla="val 7682029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8" name="Block Arc 7">
            <a:extLst>
              <a:ext uri="{FF2B5EF4-FFF2-40B4-BE49-F238E27FC236}">
                <a16:creationId xmlns:a16="http://schemas.microsoft.com/office/drawing/2014/main" id="{07843137-6D2D-3316-D540-E3B7E8D99084}"/>
              </a:ext>
            </a:extLst>
          </p:cNvPr>
          <p:cNvSpPr/>
          <p:nvPr userDrawn="1"/>
        </p:nvSpPr>
        <p:spPr>
          <a:xfrm>
            <a:off x="7321625" y="1468669"/>
            <a:ext cx="3943593" cy="3943593"/>
          </a:xfrm>
          <a:prstGeom prst="blockArc">
            <a:avLst>
              <a:gd name="adj1" fmla="val 3383882"/>
              <a:gd name="adj2" fmla="val 18072909"/>
              <a:gd name="adj3" fmla="val 11695"/>
            </a:avLst>
          </a:prstGeom>
          <a:solidFill>
            <a:schemeClr val="accent5">
              <a:alpha val="2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1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E140218-0874-3F8A-F091-5A13A83C8E2E}"/>
              </a:ext>
            </a:extLst>
          </p:cNvPr>
          <p:cNvSpPr/>
          <p:nvPr userDrawn="1"/>
        </p:nvSpPr>
        <p:spPr>
          <a:xfrm>
            <a:off x="624263" y="3751217"/>
            <a:ext cx="1512396" cy="73152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047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9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CC7DEC85-5923-41A1-1292-CA2E72A837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4056" y="4027685"/>
            <a:ext cx="6261215" cy="429635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20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D688B5A-D9B6-4A39-56C7-2FD8B473BF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4426" y="2013036"/>
            <a:ext cx="6321588" cy="1606653"/>
          </a:xfrm>
        </p:spPr>
        <p:txBody>
          <a:bodyPr lIns="0" rIns="0" anchor="b">
            <a:noAutofit/>
          </a:bodyPr>
          <a:lstStyle>
            <a:lvl1pPr algn="l">
              <a:defRPr sz="3600" b="1" spc="3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Main Presentation Header Goes Here</a:t>
            </a:r>
          </a:p>
        </p:txBody>
      </p:sp>
      <p:pic>
        <p:nvPicPr>
          <p:cNvPr id="15" name="Picture 14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2819166B-2CBF-5D4B-2801-B0609BFF01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400" y="1191703"/>
            <a:ext cx="2574333" cy="533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734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  <p15:guide id="3" pos="384">
          <p15:clr>
            <a:srgbClr val="FBAE40"/>
          </p15:clr>
        </p15:guide>
        <p15:guide id="4" pos="9728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9960D7D0-F4FE-C3CB-40A5-AE190B2DD893}"/>
              </a:ext>
            </a:extLst>
          </p:cNvPr>
          <p:cNvGrpSpPr/>
          <p:nvPr userDrawn="1"/>
        </p:nvGrpSpPr>
        <p:grpSpPr>
          <a:xfrm rot="10800000">
            <a:off x="155945" y="4802440"/>
            <a:ext cx="6709295" cy="6709295"/>
            <a:chOff x="105150" y="-3122465"/>
            <a:chExt cx="5720108" cy="5720108"/>
          </a:xfrm>
        </p:grpSpPr>
        <p:sp>
          <p:nvSpPr>
            <p:cNvPr id="6" name="Chord 5">
              <a:extLst>
                <a:ext uri="{FF2B5EF4-FFF2-40B4-BE49-F238E27FC236}">
                  <a16:creationId xmlns:a16="http://schemas.microsoft.com/office/drawing/2014/main" id="{051EAE4D-0F55-8C23-8144-DDFB7DD9D7FD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099984"/>
                <a:gd name="adj2" fmla="val 9758148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7" name="Chord 6">
              <a:extLst>
                <a:ext uri="{FF2B5EF4-FFF2-40B4-BE49-F238E27FC236}">
                  <a16:creationId xmlns:a16="http://schemas.microsoft.com/office/drawing/2014/main" id="{85DCA7C8-D8E0-C55A-BD10-0996743308B1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379694"/>
                <a:gd name="adj2" fmla="val 9313731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8" name="Chord 7">
              <a:extLst>
                <a:ext uri="{FF2B5EF4-FFF2-40B4-BE49-F238E27FC236}">
                  <a16:creationId xmlns:a16="http://schemas.microsoft.com/office/drawing/2014/main" id="{77AAA76D-1592-6CD1-5CAC-5A6CF1D69313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673024"/>
                <a:gd name="adj2" fmla="val 8811419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937B918-0B23-74EA-9E46-09DA10602EAD}"/>
              </a:ext>
            </a:extLst>
          </p:cNvPr>
          <p:cNvGrpSpPr/>
          <p:nvPr userDrawn="1"/>
        </p:nvGrpSpPr>
        <p:grpSpPr>
          <a:xfrm>
            <a:off x="6113029" y="-2990654"/>
            <a:ext cx="6921331" cy="6921331"/>
            <a:chOff x="105150" y="-3122465"/>
            <a:chExt cx="5720108" cy="5720108"/>
          </a:xfrm>
        </p:grpSpPr>
        <p:sp>
          <p:nvSpPr>
            <p:cNvPr id="14" name="Chord 13">
              <a:extLst>
                <a:ext uri="{FF2B5EF4-FFF2-40B4-BE49-F238E27FC236}">
                  <a16:creationId xmlns:a16="http://schemas.microsoft.com/office/drawing/2014/main" id="{3165E45C-C0B5-FC43-B6ED-6CB11C0666AB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20867905"/>
                <a:gd name="adj2" fmla="val 11478846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5" name="Chord 14">
              <a:extLst>
                <a:ext uri="{FF2B5EF4-FFF2-40B4-BE49-F238E27FC236}">
                  <a16:creationId xmlns:a16="http://schemas.microsoft.com/office/drawing/2014/main" id="{C39AC530-802D-1D32-ADEA-4D3CBBD2608C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0769818"/>
                <a:gd name="adj2" fmla="val 11622062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6" name="Chord 15">
              <a:extLst>
                <a:ext uri="{FF2B5EF4-FFF2-40B4-BE49-F238E27FC236}">
                  <a16:creationId xmlns:a16="http://schemas.microsoft.com/office/drawing/2014/main" id="{4353FB93-DD46-C54A-0024-A48F7D431266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656920"/>
                <a:gd name="adj2" fmla="val 11801938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pic>
        <p:nvPicPr>
          <p:cNvPr id="10" name="Picture 9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535980FD-1B8D-F6F1-3B64-BF3D992FB2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400" y="1191703"/>
            <a:ext cx="2574333" cy="533048"/>
          </a:xfrm>
          <a:prstGeom prst="rect">
            <a:avLst/>
          </a:prstGeom>
        </p:spPr>
      </p:pic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116EA175-7FC7-791A-478D-FD718123C8E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36005" y="1960416"/>
            <a:ext cx="2937163" cy="2946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20983D6-53D7-C902-9AB0-E904BD7D754E}"/>
              </a:ext>
            </a:extLst>
          </p:cNvPr>
          <p:cNvSpPr/>
          <p:nvPr userDrawn="1"/>
        </p:nvSpPr>
        <p:spPr>
          <a:xfrm>
            <a:off x="624263" y="3751217"/>
            <a:ext cx="1512396" cy="73152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047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9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FDA8D16F-CC24-CC8D-1CC3-6438691841E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4056" y="4027685"/>
            <a:ext cx="6261215" cy="429635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20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7E4DE2E-A9F6-4747-D370-1390F65F001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4426" y="2013036"/>
            <a:ext cx="6321588" cy="1606653"/>
          </a:xfrm>
        </p:spPr>
        <p:txBody>
          <a:bodyPr lIns="0" rIns="0" anchor="b">
            <a:noAutofit/>
          </a:bodyPr>
          <a:lstStyle>
            <a:lvl1pPr algn="l">
              <a:defRPr sz="3600" b="1" spc="3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Main Presentation Header Goes Here</a:t>
            </a:r>
          </a:p>
        </p:txBody>
      </p:sp>
    </p:spTree>
    <p:extLst>
      <p:ext uri="{BB962C8B-B14F-4D97-AF65-F5344CB8AC3E}">
        <p14:creationId xmlns:p14="http://schemas.microsoft.com/office/powerpoint/2010/main" val="2245394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  <p15:guide id="3" pos="512">
          <p15:clr>
            <a:srgbClr val="FBAE40"/>
          </p15:clr>
        </p15:guide>
        <p15:guide id="4" pos="9728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BDBB776A-071D-E582-B3CD-5794B197FE47}"/>
              </a:ext>
            </a:extLst>
          </p:cNvPr>
          <p:cNvGrpSpPr/>
          <p:nvPr userDrawn="1"/>
        </p:nvGrpSpPr>
        <p:grpSpPr>
          <a:xfrm rot="10800000">
            <a:off x="155945" y="4802440"/>
            <a:ext cx="6709295" cy="6709295"/>
            <a:chOff x="105150" y="-3122465"/>
            <a:chExt cx="5720108" cy="5720108"/>
          </a:xfrm>
        </p:grpSpPr>
        <p:sp>
          <p:nvSpPr>
            <p:cNvPr id="12" name="Chord 11">
              <a:extLst>
                <a:ext uri="{FF2B5EF4-FFF2-40B4-BE49-F238E27FC236}">
                  <a16:creationId xmlns:a16="http://schemas.microsoft.com/office/drawing/2014/main" id="{7BB2B28B-4BFE-B2F5-DC5E-390FC9478E14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099984"/>
                <a:gd name="adj2" fmla="val 9758148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6" name="Chord 15">
              <a:extLst>
                <a:ext uri="{FF2B5EF4-FFF2-40B4-BE49-F238E27FC236}">
                  <a16:creationId xmlns:a16="http://schemas.microsoft.com/office/drawing/2014/main" id="{1901EBED-3ED5-F5FF-FAC4-E3C4E5DED899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379694"/>
                <a:gd name="adj2" fmla="val 9313731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8" name="Chord 17">
              <a:extLst>
                <a:ext uri="{FF2B5EF4-FFF2-40B4-BE49-F238E27FC236}">
                  <a16:creationId xmlns:a16="http://schemas.microsoft.com/office/drawing/2014/main" id="{CEBDF90E-608A-7673-E39B-3BE16042EBD6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673024"/>
                <a:gd name="adj2" fmla="val 8811419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2D003A4-FFAD-D950-D02A-21674187E998}"/>
              </a:ext>
            </a:extLst>
          </p:cNvPr>
          <p:cNvGrpSpPr/>
          <p:nvPr userDrawn="1"/>
        </p:nvGrpSpPr>
        <p:grpSpPr>
          <a:xfrm>
            <a:off x="6113029" y="-2990654"/>
            <a:ext cx="6921331" cy="6921331"/>
            <a:chOff x="105150" y="-3122465"/>
            <a:chExt cx="5720108" cy="5720108"/>
          </a:xfrm>
        </p:grpSpPr>
        <p:sp>
          <p:nvSpPr>
            <p:cNvPr id="20" name="Chord 19">
              <a:extLst>
                <a:ext uri="{FF2B5EF4-FFF2-40B4-BE49-F238E27FC236}">
                  <a16:creationId xmlns:a16="http://schemas.microsoft.com/office/drawing/2014/main" id="{0A1A8329-D1F5-5C27-E042-F4F6DFE3C15E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20867905"/>
                <a:gd name="adj2" fmla="val 11478846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1" name="Chord 20">
              <a:extLst>
                <a:ext uri="{FF2B5EF4-FFF2-40B4-BE49-F238E27FC236}">
                  <a16:creationId xmlns:a16="http://schemas.microsoft.com/office/drawing/2014/main" id="{B72DC578-D487-9BAF-D045-B363F945EC9F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0769818"/>
                <a:gd name="adj2" fmla="val 11622062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2" name="Chord 21">
              <a:extLst>
                <a:ext uri="{FF2B5EF4-FFF2-40B4-BE49-F238E27FC236}">
                  <a16:creationId xmlns:a16="http://schemas.microsoft.com/office/drawing/2014/main" id="{0D0F9819-B720-30AC-3DFB-9F184297914F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656920"/>
                <a:gd name="adj2" fmla="val 11801938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472C3C59-EACF-1047-1DBE-2DE26A38A3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146928" y="1479553"/>
            <a:ext cx="3948113" cy="3948113"/>
          </a:xfrm>
        </p:spPr>
        <p:txBody>
          <a:bodyPr lIns="274320" tIns="274320" rIns="274320" bIns="274320"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or drag and drop to add a photo here.</a:t>
            </a:r>
          </a:p>
        </p:txBody>
      </p:sp>
      <p:pic>
        <p:nvPicPr>
          <p:cNvPr id="4" name="Picture 3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6DEC7FC5-2AAB-626B-B755-BC1622F04C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400" y="1191703"/>
            <a:ext cx="2574333" cy="533048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93A1E8D5-53C2-6152-B472-49004847BC4E}"/>
              </a:ext>
            </a:extLst>
          </p:cNvPr>
          <p:cNvSpPr/>
          <p:nvPr userDrawn="1"/>
        </p:nvSpPr>
        <p:spPr>
          <a:xfrm>
            <a:off x="624263" y="3751217"/>
            <a:ext cx="1512396" cy="73152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047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9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6726C246-002C-B05C-3B2C-D1190770DFF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4056" y="4027685"/>
            <a:ext cx="6261215" cy="429635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20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36EF4D24-639F-7928-C3F1-B6B380B330F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4426" y="2013036"/>
            <a:ext cx="6321588" cy="1606653"/>
          </a:xfrm>
        </p:spPr>
        <p:txBody>
          <a:bodyPr lIns="0" rIns="0" anchor="b">
            <a:noAutofit/>
          </a:bodyPr>
          <a:lstStyle>
            <a:lvl1pPr algn="l">
              <a:defRPr sz="3600" b="1" spc="3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Main Presentation Header Goes Here</a:t>
            </a:r>
          </a:p>
        </p:txBody>
      </p:sp>
    </p:spTree>
    <p:extLst>
      <p:ext uri="{BB962C8B-B14F-4D97-AF65-F5344CB8AC3E}">
        <p14:creationId xmlns:p14="http://schemas.microsoft.com/office/powerpoint/2010/main" val="141337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52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E83CA09C-F7F6-D239-0FC2-EEFE42B301A3}"/>
              </a:ext>
            </a:extLst>
          </p:cNvPr>
          <p:cNvGrpSpPr/>
          <p:nvPr userDrawn="1"/>
        </p:nvGrpSpPr>
        <p:grpSpPr>
          <a:xfrm rot="10800000">
            <a:off x="155945" y="4802440"/>
            <a:ext cx="6709295" cy="6709295"/>
            <a:chOff x="105150" y="-3122465"/>
            <a:chExt cx="5720108" cy="5720108"/>
          </a:xfrm>
        </p:grpSpPr>
        <p:sp>
          <p:nvSpPr>
            <p:cNvPr id="12" name="Chord 11">
              <a:extLst>
                <a:ext uri="{FF2B5EF4-FFF2-40B4-BE49-F238E27FC236}">
                  <a16:creationId xmlns:a16="http://schemas.microsoft.com/office/drawing/2014/main" id="{F351D202-AF25-4190-0384-B6F125C3DE3F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099984"/>
                <a:gd name="adj2" fmla="val 9758148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7" name="Chord 16">
              <a:extLst>
                <a:ext uri="{FF2B5EF4-FFF2-40B4-BE49-F238E27FC236}">
                  <a16:creationId xmlns:a16="http://schemas.microsoft.com/office/drawing/2014/main" id="{923E6E34-3618-E102-84DB-90C90A122857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379694"/>
                <a:gd name="adj2" fmla="val 9313731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8" name="Chord 17">
              <a:extLst>
                <a:ext uri="{FF2B5EF4-FFF2-40B4-BE49-F238E27FC236}">
                  <a16:creationId xmlns:a16="http://schemas.microsoft.com/office/drawing/2014/main" id="{9BFD6BFF-3BBE-5966-F0D3-4E2B1E9458C3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673024"/>
                <a:gd name="adj2" fmla="val 8811419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06A1C63-B47D-4DA0-563E-CC7A5CB5EFDF}"/>
              </a:ext>
            </a:extLst>
          </p:cNvPr>
          <p:cNvGrpSpPr/>
          <p:nvPr userDrawn="1"/>
        </p:nvGrpSpPr>
        <p:grpSpPr>
          <a:xfrm>
            <a:off x="6113029" y="-2990654"/>
            <a:ext cx="6921331" cy="6921331"/>
            <a:chOff x="105150" y="-3122465"/>
            <a:chExt cx="5720108" cy="5720108"/>
          </a:xfrm>
        </p:grpSpPr>
        <p:sp>
          <p:nvSpPr>
            <p:cNvPr id="20" name="Chord 19">
              <a:extLst>
                <a:ext uri="{FF2B5EF4-FFF2-40B4-BE49-F238E27FC236}">
                  <a16:creationId xmlns:a16="http://schemas.microsoft.com/office/drawing/2014/main" id="{E0EFE96C-76BB-7751-A64D-FBC44244E4EF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20867905"/>
                <a:gd name="adj2" fmla="val 11478846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1" name="Chord 20">
              <a:extLst>
                <a:ext uri="{FF2B5EF4-FFF2-40B4-BE49-F238E27FC236}">
                  <a16:creationId xmlns:a16="http://schemas.microsoft.com/office/drawing/2014/main" id="{B974DD6D-39AC-B1B7-391B-1D2875CD1385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0769818"/>
                <a:gd name="adj2" fmla="val 11622062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2" name="Chord 21">
              <a:extLst>
                <a:ext uri="{FF2B5EF4-FFF2-40B4-BE49-F238E27FC236}">
                  <a16:creationId xmlns:a16="http://schemas.microsoft.com/office/drawing/2014/main" id="{3A01E600-93A0-A395-9BD6-32EDDFF2A71F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656920"/>
                <a:gd name="adj2" fmla="val 11801938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9" name="Picture Placeholder 14">
            <a:extLst>
              <a:ext uri="{FF2B5EF4-FFF2-40B4-BE49-F238E27FC236}">
                <a16:creationId xmlns:a16="http://schemas.microsoft.com/office/drawing/2014/main" id="{F9AC2DE3-FD03-AEC6-C9F0-042940406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986239" y="2252089"/>
            <a:ext cx="3303575" cy="2226435"/>
          </a:xfrm>
          <a:solidFill>
            <a:schemeClr val="tx1">
              <a:lumMod val="85000"/>
              <a:lumOff val="15000"/>
            </a:schemeClr>
          </a:solidFill>
        </p:spPr>
        <p:txBody>
          <a:bodyPr lIns="274320" tIns="274320" rIns="274320" bIns="274320" anchor="ctr">
            <a:normAutofit/>
          </a:bodyPr>
          <a:lstStyle>
            <a:lvl1pPr marL="0" indent="0" algn="ctr">
              <a:buNone/>
              <a:defRPr sz="24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or drag and drop to add a photo here</a:t>
            </a:r>
          </a:p>
        </p:txBody>
      </p:sp>
      <p:pic>
        <p:nvPicPr>
          <p:cNvPr id="14" name="Picture 13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834EB383-490C-4D5A-5390-787502B543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400" y="1191703"/>
            <a:ext cx="2574333" cy="533048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4422CD37-D087-1F67-0339-380F4FF58591}"/>
              </a:ext>
            </a:extLst>
          </p:cNvPr>
          <p:cNvSpPr/>
          <p:nvPr userDrawn="1"/>
        </p:nvSpPr>
        <p:spPr>
          <a:xfrm>
            <a:off x="624263" y="3751217"/>
            <a:ext cx="1512396" cy="73152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047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9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3" name="Subtitle 2">
            <a:extLst>
              <a:ext uri="{FF2B5EF4-FFF2-40B4-BE49-F238E27FC236}">
                <a16:creationId xmlns:a16="http://schemas.microsoft.com/office/drawing/2014/main" id="{FCF1AD06-3443-A603-C773-4D7D7A42923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4056" y="4027685"/>
            <a:ext cx="6261215" cy="429635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20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A923A578-3984-F728-AB5C-A22613190E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4426" y="2013036"/>
            <a:ext cx="6321588" cy="1606653"/>
          </a:xfrm>
        </p:spPr>
        <p:txBody>
          <a:bodyPr lIns="0" rIns="0" anchor="b">
            <a:noAutofit/>
          </a:bodyPr>
          <a:lstStyle>
            <a:lvl1pPr algn="l">
              <a:defRPr sz="3600" b="1" spc="3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Main Presentation Header Goes Here</a:t>
            </a:r>
          </a:p>
        </p:txBody>
      </p:sp>
    </p:spTree>
    <p:extLst>
      <p:ext uri="{BB962C8B-B14F-4D97-AF65-F5344CB8AC3E}">
        <p14:creationId xmlns:p14="http://schemas.microsoft.com/office/powerpoint/2010/main" val="51759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935E4FC1-D9B2-38F0-73C2-BB274C7794EB}"/>
              </a:ext>
            </a:extLst>
          </p:cNvPr>
          <p:cNvGrpSpPr/>
          <p:nvPr userDrawn="1"/>
        </p:nvGrpSpPr>
        <p:grpSpPr>
          <a:xfrm rot="10800000">
            <a:off x="155945" y="4802440"/>
            <a:ext cx="6709295" cy="6709295"/>
            <a:chOff x="105150" y="-3122465"/>
            <a:chExt cx="5720108" cy="5720108"/>
          </a:xfrm>
        </p:grpSpPr>
        <p:sp>
          <p:nvSpPr>
            <p:cNvPr id="12" name="Chord 11">
              <a:extLst>
                <a:ext uri="{FF2B5EF4-FFF2-40B4-BE49-F238E27FC236}">
                  <a16:creationId xmlns:a16="http://schemas.microsoft.com/office/drawing/2014/main" id="{94FCF53E-8D80-6E96-1296-1053F5E54789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099984"/>
                <a:gd name="adj2" fmla="val 9758148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7" name="Chord 16">
              <a:extLst>
                <a:ext uri="{FF2B5EF4-FFF2-40B4-BE49-F238E27FC236}">
                  <a16:creationId xmlns:a16="http://schemas.microsoft.com/office/drawing/2014/main" id="{10B93B93-99FF-66B2-3FAE-6642EE0B6F05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379694"/>
                <a:gd name="adj2" fmla="val 9313731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8" name="Chord 17">
              <a:extLst>
                <a:ext uri="{FF2B5EF4-FFF2-40B4-BE49-F238E27FC236}">
                  <a16:creationId xmlns:a16="http://schemas.microsoft.com/office/drawing/2014/main" id="{F163443C-1794-EB37-8579-CA4796CCE157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673024"/>
                <a:gd name="adj2" fmla="val 8811419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7DA82DA-E6F1-E8D0-2E21-67C66D3E7FDE}"/>
              </a:ext>
            </a:extLst>
          </p:cNvPr>
          <p:cNvGrpSpPr/>
          <p:nvPr userDrawn="1"/>
        </p:nvGrpSpPr>
        <p:grpSpPr>
          <a:xfrm>
            <a:off x="6113029" y="-2990654"/>
            <a:ext cx="6921331" cy="6921331"/>
            <a:chOff x="105150" y="-3122465"/>
            <a:chExt cx="5720108" cy="5720108"/>
          </a:xfrm>
        </p:grpSpPr>
        <p:sp>
          <p:nvSpPr>
            <p:cNvPr id="20" name="Chord 19">
              <a:extLst>
                <a:ext uri="{FF2B5EF4-FFF2-40B4-BE49-F238E27FC236}">
                  <a16:creationId xmlns:a16="http://schemas.microsoft.com/office/drawing/2014/main" id="{8273F197-9146-A087-47E5-D3A651249E88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20867905"/>
                <a:gd name="adj2" fmla="val 11478846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1" name="Chord 20">
              <a:extLst>
                <a:ext uri="{FF2B5EF4-FFF2-40B4-BE49-F238E27FC236}">
                  <a16:creationId xmlns:a16="http://schemas.microsoft.com/office/drawing/2014/main" id="{AEB79B34-EEDF-D861-905B-4B9D3A684250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0769818"/>
                <a:gd name="adj2" fmla="val 11622062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2" name="Chord 21">
              <a:extLst>
                <a:ext uri="{FF2B5EF4-FFF2-40B4-BE49-F238E27FC236}">
                  <a16:creationId xmlns:a16="http://schemas.microsoft.com/office/drawing/2014/main" id="{7C374662-275A-B45F-6684-0FD720E82827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656920"/>
                <a:gd name="adj2" fmla="val 11801938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16" name="Picture Placeholder 14">
            <a:extLst>
              <a:ext uri="{FF2B5EF4-FFF2-40B4-BE49-F238E27FC236}">
                <a16:creationId xmlns:a16="http://schemas.microsoft.com/office/drawing/2014/main" id="{88DCEBFB-7466-68BA-6983-155DE6720FE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338039" y="1655287"/>
            <a:ext cx="1527071" cy="2733725"/>
          </a:xfrm>
          <a:solidFill>
            <a:schemeClr val="tx1">
              <a:lumMod val="85000"/>
              <a:lumOff val="1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or drag and drop to add a photo here</a:t>
            </a:r>
          </a:p>
        </p:txBody>
      </p:sp>
      <p:pic>
        <p:nvPicPr>
          <p:cNvPr id="4" name="Picture 3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52C1118A-86EE-6F17-5943-5B3527D36D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400" y="1191703"/>
            <a:ext cx="2574333" cy="533048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A7C5959F-9B5E-99CC-13A4-7B5F46D4834A}"/>
              </a:ext>
            </a:extLst>
          </p:cNvPr>
          <p:cNvSpPr/>
          <p:nvPr userDrawn="1"/>
        </p:nvSpPr>
        <p:spPr>
          <a:xfrm>
            <a:off x="624263" y="3751217"/>
            <a:ext cx="1512396" cy="73152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047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9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F8026F92-EB32-1C1B-977E-ECC35FBC0A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4056" y="4027685"/>
            <a:ext cx="6261215" cy="429635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20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B5C64E12-468A-9C1F-8BED-613FC0D395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4426" y="2013036"/>
            <a:ext cx="6321588" cy="1606653"/>
          </a:xfrm>
        </p:spPr>
        <p:txBody>
          <a:bodyPr lIns="0" rIns="0" anchor="b">
            <a:noAutofit/>
          </a:bodyPr>
          <a:lstStyle>
            <a:lvl1pPr algn="l">
              <a:defRPr sz="3600" b="1" spc="3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Main Presentation Header Goes Here</a:t>
            </a:r>
          </a:p>
        </p:txBody>
      </p:sp>
    </p:spTree>
    <p:extLst>
      <p:ext uri="{BB962C8B-B14F-4D97-AF65-F5344CB8AC3E}">
        <p14:creationId xmlns:p14="http://schemas.microsoft.com/office/powerpoint/2010/main" val="1212373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42DFF7C-E8BA-18FB-FCCA-1D940663230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2143116" y="685594"/>
            <a:ext cx="5486400" cy="5486400"/>
          </a:xfrm>
          <a:prstGeom prst="chord">
            <a:avLst>
              <a:gd name="adj1" fmla="val 16223487"/>
              <a:gd name="adj2" fmla="val 5378999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  <p:sp>
        <p:nvSpPr>
          <p:cNvPr id="2" name="Arc 1">
            <a:extLst>
              <a:ext uri="{FF2B5EF4-FFF2-40B4-BE49-F238E27FC236}">
                <a16:creationId xmlns:a16="http://schemas.microsoft.com/office/drawing/2014/main" id="{62DA2AC3-83E6-3302-EA43-1F0A2914B1E8}"/>
              </a:ext>
            </a:extLst>
          </p:cNvPr>
          <p:cNvSpPr/>
          <p:nvPr userDrawn="1"/>
        </p:nvSpPr>
        <p:spPr>
          <a:xfrm>
            <a:off x="-2279594" y="538733"/>
            <a:ext cx="5808698" cy="5808698"/>
          </a:xfrm>
          <a:prstGeom prst="arc">
            <a:avLst>
              <a:gd name="adj1" fmla="val 16195710"/>
              <a:gd name="adj2" fmla="val 19585927"/>
            </a:avLst>
          </a:prstGeom>
          <a:ln w="355600">
            <a:solidFill>
              <a:schemeClr val="accent4">
                <a:alpha val="7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83CF4F8-036F-EE4B-8E20-A66725329977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0F7B0F6B-7EBD-2BB9-D0F6-256B83745D2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37" y="2173548"/>
            <a:ext cx="7104207" cy="3978275"/>
          </a:xfrm>
        </p:spPr>
        <p:txBody>
          <a:bodyPr lIns="0" rIns="0"/>
          <a:lstStyle>
            <a:lvl1pPr marL="0" indent="0">
              <a:buNone/>
              <a:defRPr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66DD974-4C86-9A1D-518F-83938D47BA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37" y="368472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3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6DE4DE18-9237-EFC3-7247-9CD783E520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3" y="1241371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38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A00ABA-17D9-FED1-D52F-E2DD6C34A3A5}"/>
              </a:ext>
            </a:extLst>
          </p:cNvPr>
          <p:cNvCxnSpPr>
            <a:cxnSpLocks/>
          </p:cNvCxnSpPr>
          <p:nvPr userDrawn="1"/>
        </p:nvCxnSpPr>
        <p:spPr>
          <a:xfrm>
            <a:off x="4457701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4004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16">
          <p15:clr>
            <a:srgbClr val="FBAE40"/>
          </p15:clr>
        </p15:guide>
        <p15:guide id="3" pos="384">
          <p15:clr>
            <a:srgbClr val="FBAE40"/>
          </p15:clr>
        </p15:guide>
        <p15:guide id="4" pos="7296">
          <p15:clr>
            <a:srgbClr val="FBAE4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elay 2">
            <a:extLst>
              <a:ext uri="{FF2B5EF4-FFF2-40B4-BE49-F238E27FC236}">
                <a16:creationId xmlns:a16="http://schemas.microsoft.com/office/drawing/2014/main" id="{0ACB2657-C708-A04B-A3BF-C432BC3D4122}"/>
              </a:ext>
            </a:extLst>
          </p:cNvPr>
          <p:cNvSpPr/>
          <p:nvPr userDrawn="1"/>
        </p:nvSpPr>
        <p:spPr>
          <a:xfrm rot="16200000">
            <a:off x="391045" y="1874233"/>
            <a:ext cx="3845083" cy="3386155"/>
          </a:xfrm>
          <a:prstGeom prst="flowChartDelay">
            <a:avLst/>
          </a:prstGeom>
          <a:solidFill>
            <a:srgbClr val="55A585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8" name="Picture 7" descr="A person holding a phone&#10;&#10;Description automatically generated with medium confidence">
            <a:extLst>
              <a:ext uri="{FF2B5EF4-FFF2-40B4-BE49-F238E27FC236}">
                <a16:creationId xmlns:a16="http://schemas.microsoft.com/office/drawing/2014/main" id="{3BACD890-BD0B-E6A4-58CF-57E3D8863A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7284" y="753673"/>
            <a:ext cx="3697205" cy="4736179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D2304E76-E256-52C5-FB40-A78CA129D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84385" y="368473"/>
            <a:ext cx="7098016" cy="704955"/>
          </a:xfrm>
        </p:spPr>
        <p:txBody>
          <a:bodyPr lIns="0" rIns="0" anchor="b">
            <a:normAutofit/>
          </a:bodyPr>
          <a:lstStyle>
            <a:lvl1pPr marL="0"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Hello Granicus Product Marketers! 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3FC7BAB-2CFD-16FA-E5CE-6A8AE832096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91641" y="1241372"/>
            <a:ext cx="7090760" cy="429635"/>
          </a:xfrm>
        </p:spPr>
        <p:txBody>
          <a:bodyPr lIns="0" rIns="0">
            <a:normAutofit/>
          </a:bodyPr>
          <a:lstStyle>
            <a:lvl1pPr marL="0" indent="0" algn="l" defTabSz="91436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My B2B Journey 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B0EFC8E-2D10-7A07-38EC-603E7E665B9E}"/>
              </a:ext>
            </a:extLst>
          </p:cNvPr>
          <p:cNvCxnSpPr>
            <a:cxnSpLocks/>
            <a:stCxn id="22" idx="4"/>
            <a:endCxn id="25" idx="0"/>
          </p:cNvCxnSpPr>
          <p:nvPr userDrawn="1"/>
        </p:nvCxnSpPr>
        <p:spPr>
          <a:xfrm>
            <a:off x="4469179" y="2328875"/>
            <a:ext cx="0" cy="2816305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21" name="Google Shape;323;p67">
            <a:extLst>
              <a:ext uri="{FF2B5EF4-FFF2-40B4-BE49-F238E27FC236}">
                <a16:creationId xmlns:a16="http://schemas.microsoft.com/office/drawing/2014/main" id="{F0EB2619-26EF-50E4-F6EE-782CE1906BC5}"/>
              </a:ext>
            </a:extLst>
          </p:cNvPr>
          <p:cNvSpPr txBox="1">
            <a:spLocks/>
          </p:cNvSpPr>
          <p:nvPr userDrawn="1"/>
        </p:nvSpPr>
        <p:spPr>
          <a:xfrm>
            <a:off x="4826954" y="2071343"/>
            <a:ext cx="5029555" cy="362092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34275" rIns="0" bIns="34275" rtlCol="0" anchor="t" anchorCtr="0">
            <a:noAutofit/>
          </a:bodyPr>
          <a:lstStyle>
            <a:lvl1pPr marL="342892" lvl="0" indent="-266693" algn="l" defTabSz="68579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lvl="1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8675" lvl="2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lvl="3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14457" lvl="4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7348" lvl="5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00240" lvl="6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43132" lvl="7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86023" lvl="8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1575"/>
              </a:spcAft>
              <a:buSzPts val="19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marR="0" lvl="0" indent="0" algn="l" defTabSz="68575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>
                <a:srgbClr val="787B7E"/>
              </a:buClr>
              <a:buSzPts val="2000"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BA - Mass Communication</a:t>
            </a:r>
            <a:br>
              <a:rPr kumimoji="0" lang="en-US" sz="1500" b="1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r>
              <a:rPr kumimoji="0" lang="en-US" sz="1351" b="0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Concentration: Journalism </a:t>
            </a:r>
            <a:br>
              <a:rPr kumimoji="0" lang="en-US" sz="18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endParaRPr kumimoji="0" lang="en-US" sz="1800" b="0" i="0" u="none" strike="noStrike" kern="1200" cap="none" spc="4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Century Gothic" panose="020F0302020204030204"/>
              <a:ea typeface="+mn-lt"/>
              <a:cs typeface="+mn-lt"/>
            </a:endParaRPr>
          </a:p>
          <a:p>
            <a:pPr marL="0" marR="0" lvl="0" indent="0" algn="l" defTabSz="68575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EE2845"/>
              </a:buClr>
              <a:buSzPct val="85000"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YOUR PRIORITIES &amp; DESIRED OUTCOMES</a:t>
            </a:r>
            <a: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 </a:t>
            </a:r>
            <a:b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r>
              <a:rPr kumimoji="0" lang="en-US" sz="1351" b="0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Creating a shared understanding of success</a:t>
            </a:r>
            <a:b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b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endParaRPr kumimoji="0" lang="en-US" sz="1500" b="1" i="0" u="none" strike="noStrike" kern="1200" cap="none" spc="4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Century Gothic" panose="020F0302020204030204"/>
              <a:ea typeface="+mn-lt"/>
              <a:cs typeface="+mn-lt"/>
            </a:endParaRPr>
          </a:p>
          <a:p>
            <a:pPr marL="0" marR="0" lvl="0" indent="0" algn="l" defTabSz="68575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EE2845"/>
              </a:buClr>
              <a:buSzPct val="85000"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OVERVIEW OF WHAT IS POSSIBLE</a:t>
            </a:r>
            <a:b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r>
              <a:rPr kumimoji="0" lang="en-US" sz="1351" b="0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Designing a solution together</a:t>
            </a:r>
            <a:b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b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endParaRPr kumimoji="0" lang="en-US" sz="1500" b="0" i="0" u="none" strike="noStrike" kern="1200" cap="none" spc="4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Century Gothic" panose="020F0302020204030204"/>
              <a:ea typeface="+mn-lt"/>
              <a:cs typeface="+mn-lt"/>
            </a:endParaRPr>
          </a:p>
          <a:p>
            <a:pPr marL="0" marR="0" lvl="0" indent="0" algn="l" defTabSz="68575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EE2845"/>
              </a:buClr>
              <a:buSzPct val="85000"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QUESTIONS &amp; NEXT STEPS</a:t>
            </a:r>
            <a:br>
              <a:rPr kumimoji="0" lang="en-US" sz="1500" b="1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r>
              <a:rPr kumimoji="0" lang="en-US" sz="1351" b="0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Where do we go from here?</a:t>
            </a:r>
            <a:r>
              <a:rPr kumimoji="0" lang="en-US" sz="1351" b="1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 </a:t>
            </a:r>
            <a:endParaRPr kumimoji="0" lang="en-US" sz="1500" b="0" i="0" u="none" strike="noStrike" kern="1200" cap="none" spc="4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Century Gothic" panose="020F0302020204030204"/>
              <a:ea typeface="+mn-lt"/>
              <a:cs typeface="+mn-lt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C8B41C3B-D508-EC15-3E45-DA0A071D9917}"/>
              </a:ext>
            </a:extLst>
          </p:cNvPr>
          <p:cNvSpPr/>
          <p:nvPr userDrawn="1"/>
        </p:nvSpPr>
        <p:spPr>
          <a:xfrm>
            <a:off x="4394638" y="2179790"/>
            <a:ext cx="149087" cy="149087"/>
          </a:xfrm>
          <a:prstGeom prst="ellipse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2285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9F232104-0AF3-1F1C-88C7-64A8AC2B110A}"/>
              </a:ext>
            </a:extLst>
          </p:cNvPr>
          <p:cNvSpPr/>
          <p:nvPr userDrawn="1"/>
        </p:nvSpPr>
        <p:spPr>
          <a:xfrm>
            <a:off x="4394638" y="3167237"/>
            <a:ext cx="149087" cy="149087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rgbClr val="EE284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2285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AFE59FBD-2303-220D-E8FE-B141540A7668}"/>
              </a:ext>
            </a:extLst>
          </p:cNvPr>
          <p:cNvSpPr/>
          <p:nvPr userDrawn="1"/>
        </p:nvSpPr>
        <p:spPr>
          <a:xfrm>
            <a:off x="4394638" y="4154682"/>
            <a:ext cx="149087" cy="149087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rgbClr val="EE284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2285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AB774A9-80AA-81D8-034F-9F7CD11774E6}"/>
              </a:ext>
            </a:extLst>
          </p:cNvPr>
          <p:cNvSpPr/>
          <p:nvPr userDrawn="1"/>
        </p:nvSpPr>
        <p:spPr>
          <a:xfrm>
            <a:off x="4394638" y="5145182"/>
            <a:ext cx="149087" cy="149087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rgbClr val="EE284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2285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65ADAE8-D812-6A52-114E-CAC1FC7392F3}"/>
              </a:ext>
            </a:extLst>
          </p:cNvPr>
          <p:cNvCxnSpPr>
            <a:cxnSpLocks/>
          </p:cNvCxnSpPr>
          <p:nvPr userDrawn="1"/>
        </p:nvCxnSpPr>
        <p:spPr>
          <a:xfrm>
            <a:off x="4457702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F086DB0-1896-E7E6-5BFD-4A6538D2C69B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4" name="Picture 1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CF33704D-193C-4AA3-3C5D-B105B4026EC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292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  <p15:guide id="3" pos="3744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BF8D885F-F35C-1AE6-16EB-B2CED9445029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5183190" y="0"/>
            <a:ext cx="7008812" cy="6858000"/>
          </a:xfrm>
          <a:solidFill>
            <a:schemeClr val="bg2"/>
          </a:solidFill>
        </p:spPr>
        <p:txBody>
          <a:bodyPr rIns="457200" anchor="ctr">
            <a:normAutofit/>
          </a:bodyPr>
          <a:lstStyle>
            <a:lvl1pPr marL="0" indent="0" algn="r">
              <a:buNone/>
              <a:defRPr sz="24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pPr marL="0" marR="0" lvl="0" indent="0" algn="r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or drag and drop</a:t>
            </a:r>
          </a:p>
          <a:p>
            <a:pPr marL="0" marR="0" lvl="0" indent="0" algn="r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 to add a photo here – </a:t>
            </a:r>
          </a:p>
          <a:p>
            <a:pPr marL="0" marR="0" lvl="0" indent="0" algn="r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you might need to </a:t>
            </a:r>
          </a:p>
          <a:p>
            <a:pPr marL="0" marR="0" lvl="0" indent="0" algn="r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right click and send the </a:t>
            </a:r>
          </a:p>
          <a:p>
            <a:pPr marL="0" marR="0" lvl="0" indent="0" algn="r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 to the back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2F9673C-30C0-E03E-BA3B-21B213457EE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7505" y="4027685"/>
            <a:ext cx="6261215" cy="429635"/>
          </a:xfrm>
        </p:spPr>
        <p:txBody>
          <a:bodyPr lIns="0">
            <a:normAutofit/>
          </a:bodyPr>
          <a:lstStyle>
            <a:lvl1pPr marL="0" indent="0" algn="l">
              <a:buNone/>
              <a:defRPr sz="2000" spc="51" baseline="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76E1A8A-FA41-570F-BF44-20B0D806425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6341" y="2013036"/>
            <a:ext cx="6321588" cy="1606653"/>
          </a:xfrm>
        </p:spPr>
        <p:txBody>
          <a:bodyPr lIns="0" anchor="b">
            <a:noAutofit/>
          </a:bodyPr>
          <a:lstStyle>
            <a:lvl1pPr algn="l">
              <a:defRPr sz="3600" b="1" spc="3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Add your section title here</a:t>
            </a:r>
          </a:p>
        </p:txBody>
      </p:sp>
    </p:spTree>
    <p:extLst>
      <p:ext uri="{BB962C8B-B14F-4D97-AF65-F5344CB8AC3E}">
        <p14:creationId xmlns:p14="http://schemas.microsoft.com/office/powerpoint/2010/main" val="87372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8761E293-D9B4-0F86-0B0B-6AA5ED2AE0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153" y="6537008"/>
            <a:ext cx="753859" cy="156096"/>
          </a:xfrm>
          <a:prstGeom prst="rect">
            <a:avLst/>
          </a:prstGeom>
        </p:spPr>
      </p:pic>
      <p:sp>
        <p:nvSpPr>
          <p:cNvPr id="2" name="Picture Placeholder 7">
            <a:extLst>
              <a:ext uri="{FF2B5EF4-FFF2-40B4-BE49-F238E27FC236}">
                <a16:creationId xmlns:a16="http://schemas.microsoft.com/office/drawing/2014/main" id="{A03CFE9E-F9D8-6915-4AB7-362C3E40825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686824" y="-222200"/>
            <a:ext cx="7302399" cy="7302399"/>
          </a:xfrm>
          <a:prstGeom prst="chord">
            <a:avLst>
              <a:gd name="adj1" fmla="val 14891008"/>
              <a:gd name="adj2" fmla="val 14728125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93DE41-638F-98F6-5536-83B2244FB78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38" y="2173549"/>
            <a:ext cx="7104207" cy="3978275"/>
          </a:xfrm>
        </p:spPr>
        <p:txBody>
          <a:bodyPr lIns="0" rIns="0"/>
          <a:lstStyle>
            <a:lvl1pPr marL="0" indent="0">
              <a:buNone/>
              <a:defRPr/>
            </a:lvl1pPr>
            <a:lvl2pPr marL="457178" indent="0">
              <a:buNone/>
              <a:defRPr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88A9E8B-D116-858A-EC47-80BD6AF2BD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38" y="368473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6ED60761-73A6-A05D-E6E1-596B967C8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4" y="1241372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36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B13B303-9934-88D1-F879-E130155052E5}"/>
              </a:ext>
            </a:extLst>
          </p:cNvPr>
          <p:cNvCxnSpPr>
            <a:cxnSpLocks/>
          </p:cNvCxnSpPr>
          <p:nvPr userDrawn="1"/>
        </p:nvCxnSpPr>
        <p:spPr>
          <a:xfrm>
            <a:off x="4457702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2127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  <p15:guide id="3" pos="3744">
          <p15:clr>
            <a:srgbClr val="FBAE4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BB1A3ACE-96EE-F4FC-E59F-1689CE09CB89}"/>
              </a:ext>
            </a:extLst>
          </p:cNvPr>
          <p:cNvSpPr/>
          <p:nvPr userDrawn="1"/>
        </p:nvSpPr>
        <p:spPr>
          <a:xfrm>
            <a:off x="-3945326" y="-502038"/>
            <a:ext cx="7890651" cy="7890651"/>
          </a:xfrm>
          <a:prstGeom prst="ellipse">
            <a:avLst/>
          </a:prstGeom>
          <a:solidFill>
            <a:schemeClr val="accent5">
              <a:alpha val="38400"/>
            </a:schemeClr>
          </a:solidFill>
          <a:ln w="4445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20" name="Picture 19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8761E293-D9B4-0F86-0B0B-6AA5ED2AE0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153" y="6537008"/>
            <a:ext cx="753859" cy="156096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93DE41-638F-98F6-5536-83B2244FB78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38" y="2173549"/>
            <a:ext cx="7104207" cy="3978275"/>
          </a:xfrm>
        </p:spPr>
        <p:txBody>
          <a:bodyPr lIns="0" rIns="0"/>
          <a:lstStyle>
            <a:lvl1pPr marL="0" indent="0">
              <a:buNone/>
              <a:defRPr/>
            </a:lvl1pPr>
            <a:lvl2pPr marL="457178" indent="0">
              <a:buNone/>
              <a:defRPr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88A9E8B-D116-858A-EC47-80BD6AF2BD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38" y="368473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6ED60761-73A6-A05D-E6E1-596B967C8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4" y="1241372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36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B13B303-9934-88D1-F879-E130155052E5}"/>
              </a:ext>
            </a:extLst>
          </p:cNvPr>
          <p:cNvCxnSpPr>
            <a:cxnSpLocks/>
          </p:cNvCxnSpPr>
          <p:nvPr userDrawn="1"/>
        </p:nvCxnSpPr>
        <p:spPr>
          <a:xfrm>
            <a:off x="4457702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505FFAB-B692-3082-CDAD-0716C1937B5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651200" y="-207912"/>
            <a:ext cx="7302399" cy="7302399"/>
          </a:xfrm>
          <a:prstGeom prst="chord">
            <a:avLst>
              <a:gd name="adj1" fmla="val 14891008"/>
              <a:gd name="adj2" fmla="val 14728125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</p:spTree>
    <p:extLst>
      <p:ext uri="{BB962C8B-B14F-4D97-AF65-F5344CB8AC3E}">
        <p14:creationId xmlns:p14="http://schemas.microsoft.com/office/powerpoint/2010/main" val="310466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  <p15:guide id="3" pos="3744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BB1A3ACE-96EE-F4FC-E59F-1689CE09CB89}"/>
              </a:ext>
            </a:extLst>
          </p:cNvPr>
          <p:cNvSpPr/>
          <p:nvPr userDrawn="1"/>
        </p:nvSpPr>
        <p:spPr>
          <a:xfrm>
            <a:off x="-3945326" y="-502038"/>
            <a:ext cx="7890651" cy="7890651"/>
          </a:xfrm>
          <a:prstGeom prst="ellipse">
            <a:avLst/>
          </a:prstGeom>
          <a:solidFill>
            <a:schemeClr val="accent4">
              <a:alpha val="38400"/>
            </a:schemeClr>
          </a:solidFill>
          <a:ln w="4445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20" name="Picture 19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8761E293-D9B4-0F86-0B0B-6AA5ED2AE0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153" y="6537008"/>
            <a:ext cx="753859" cy="156096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93DE41-638F-98F6-5536-83B2244FB78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38" y="2173549"/>
            <a:ext cx="7104207" cy="3978275"/>
          </a:xfrm>
        </p:spPr>
        <p:txBody>
          <a:bodyPr lIns="0" rIns="0"/>
          <a:lstStyle>
            <a:lvl1pPr marL="0" indent="0">
              <a:buNone/>
              <a:defRPr/>
            </a:lvl1pPr>
            <a:lvl2pPr marL="457178" indent="0">
              <a:buNone/>
              <a:defRPr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88A9E8B-D116-858A-EC47-80BD6AF2BD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38" y="368473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6ED60761-73A6-A05D-E6E1-596B967C8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4" y="1241372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36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B13B303-9934-88D1-F879-E130155052E5}"/>
              </a:ext>
            </a:extLst>
          </p:cNvPr>
          <p:cNvCxnSpPr>
            <a:cxnSpLocks/>
          </p:cNvCxnSpPr>
          <p:nvPr userDrawn="1"/>
        </p:nvCxnSpPr>
        <p:spPr>
          <a:xfrm>
            <a:off x="4457702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505FFAB-B692-3082-CDAD-0716C1937B5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651200" y="-207912"/>
            <a:ext cx="7302399" cy="7302399"/>
          </a:xfrm>
          <a:prstGeom prst="chord">
            <a:avLst>
              <a:gd name="adj1" fmla="val 14891008"/>
              <a:gd name="adj2" fmla="val 14728125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</p:spTree>
    <p:extLst>
      <p:ext uri="{BB962C8B-B14F-4D97-AF65-F5344CB8AC3E}">
        <p14:creationId xmlns:p14="http://schemas.microsoft.com/office/powerpoint/2010/main" val="3567109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  <p15:guide id="3" pos="3744">
          <p15:clr>
            <a:srgbClr val="FBAE4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BB1A3ACE-96EE-F4FC-E59F-1689CE09CB89}"/>
              </a:ext>
            </a:extLst>
          </p:cNvPr>
          <p:cNvSpPr/>
          <p:nvPr userDrawn="1"/>
        </p:nvSpPr>
        <p:spPr>
          <a:xfrm>
            <a:off x="-3945326" y="-502038"/>
            <a:ext cx="7890651" cy="7890651"/>
          </a:xfrm>
          <a:prstGeom prst="ellipse">
            <a:avLst/>
          </a:prstGeom>
          <a:solidFill>
            <a:schemeClr val="accent3">
              <a:alpha val="38400"/>
            </a:schemeClr>
          </a:solidFill>
          <a:ln w="4445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20" name="Picture 19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8761E293-D9B4-0F86-0B0B-6AA5ED2AE0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153" y="6537008"/>
            <a:ext cx="753859" cy="156096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93DE41-638F-98F6-5536-83B2244FB78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38" y="2173549"/>
            <a:ext cx="7104207" cy="3978275"/>
          </a:xfrm>
        </p:spPr>
        <p:txBody>
          <a:bodyPr lIns="0" rIns="0"/>
          <a:lstStyle>
            <a:lvl1pPr marL="0" indent="0">
              <a:buNone/>
              <a:defRPr/>
            </a:lvl1pPr>
            <a:lvl2pPr marL="457178" indent="0">
              <a:buNone/>
              <a:defRPr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88A9E8B-D116-858A-EC47-80BD6AF2BD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38" y="368473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6ED60761-73A6-A05D-E6E1-596B967C8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4" y="1241372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36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B13B303-9934-88D1-F879-E130155052E5}"/>
              </a:ext>
            </a:extLst>
          </p:cNvPr>
          <p:cNvCxnSpPr>
            <a:cxnSpLocks/>
          </p:cNvCxnSpPr>
          <p:nvPr userDrawn="1"/>
        </p:nvCxnSpPr>
        <p:spPr>
          <a:xfrm>
            <a:off x="4457702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505FFAB-B692-3082-CDAD-0716C1937B5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651200" y="-207912"/>
            <a:ext cx="7302399" cy="7302399"/>
          </a:xfrm>
          <a:prstGeom prst="chord">
            <a:avLst>
              <a:gd name="adj1" fmla="val 14891008"/>
              <a:gd name="adj2" fmla="val 14728125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</p:spTree>
    <p:extLst>
      <p:ext uri="{BB962C8B-B14F-4D97-AF65-F5344CB8AC3E}">
        <p14:creationId xmlns:p14="http://schemas.microsoft.com/office/powerpoint/2010/main" val="2618121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  <p15:guide id="3" pos="3744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BB1A3ACE-96EE-F4FC-E59F-1689CE09CB89}"/>
              </a:ext>
            </a:extLst>
          </p:cNvPr>
          <p:cNvSpPr/>
          <p:nvPr userDrawn="1"/>
        </p:nvSpPr>
        <p:spPr>
          <a:xfrm>
            <a:off x="-3945326" y="-502038"/>
            <a:ext cx="7890651" cy="7890651"/>
          </a:xfrm>
          <a:prstGeom prst="ellipse">
            <a:avLst/>
          </a:prstGeom>
          <a:solidFill>
            <a:schemeClr val="accent2">
              <a:alpha val="38400"/>
            </a:schemeClr>
          </a:solidFill>
          <a:ln w="4445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20" name="Picture 19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8761E293-D9B4-0F86-0B0B-6AA5ED2AE0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153" y="6537008"/>
            <a:ext cx="753859" cy="156096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93DE41-638F-98F6-5536-83B2244FB78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38" y="2173549"/>
            <a:ext cx="7104207" cy="3978275"/>
          </a:xfrm>
        </p:spPr>
        <p:txBody>
          <a:bodyPr lIns="0" rIns="0"/>
          <a:lstStyle>
            <a:lvl1pPr marL="0" indent="0">
              <a:buNone/>
              <a:defRPr/>
            </a:lvl1pPr>
            <a:lvl2pPr marL="457178" indent="0">
              <a:buNone/>
              <a:defRPr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88A9E8B-D116-858A-EC47-80BD6AF2BD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38" y="368473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6ED60761-73A6-A05D-E6E1-596B967C8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4" y="1241372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36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B13B303-9934-88D1-F879-E130155052E5}"/>
              </a:ext>
            </a:extLst>
          </p:cNvPr>
          <p:cNvCxnSpPr>
            <a:cxnSpLocks/>
          </p:cNvCxnSpPr>
          <p:nvPr userDrawn="1"/>
        </p:nvCxnSpPr>
        <p:spPr>
          <a:xfrm>
            <a:off x="4457702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505FFAB-B692-3082-CDAD-0716C1937B5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651200" y="-207912"/>
            <a:ext cx="7302399" cy="7302399"/>
          </a:xfrm>
          <a:prstGeom prst="chord">
            <a:avLst>
              <a:gd name="adj1" fmla="val 14891008"/>
              <a:gd name="adj2" fmla="val 14728125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</p:spTree>
    <p:extLst>
      <p:ext uri="{BB962C8B-B14F-4D97-AF65-F5344CB8AC3E}">
        <p14:creationId xmlns:p14="http://schemas.microsoft.com/office/powerpoint/2010/main" val="1239030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  <p15:guide id="3" pos="3744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BB1A3ACE-96EE-F4FC-E59F-1689CE09CB89}"/>
              </a:ext>
            </a:extLst>
          </p:cNvPr>
          <p:cNvSpPr/>
          <p:nvPr userDrawn="1"/>
        </p:nvSpPr>
        <p:spPr>
          <a:xfrm>
            <a:off x="-3945326" y="-502038"/>
            <a:ext cx="7890651" cy="7890651"/>
          </a:xfrm>
          <a:prstGeom prst="ellipse">
            <a:avLst/>
          </a:prstGeom>
          <a:solidFill>
            <a:schemeClr val="bg2">
              <a:alpha val="62470"/>
            </a:schemeClr>
          </a:solidFill>
          <a:ln w="4445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20" name="Picture 19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8761E293-D9B4-0F86-0B0B-6AA5ED2AE0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153" y="6537008"/>
            <a:ext cx="753859" cy="156096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93DE41-638F-98F6-5536-83B2244FB78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38" y="2173549"/>
            <a:ext cx="7104207" cy="3978275"/>
          </a:xfrm>
        </p:spPr>
        <p:txBody>
          <a:bodyPr lIns="0" rIns="0"/>
          <a:lstStyle>
            <a:lvl1pPr marL="0" indent="0">
              <a:buNone/>
              <a:defRPr/>
            </a:lvl1pPr>
            <a:lvl2pPr marL="457178" indent="0">
              <a:buNone/>
              <a:defRPr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88A9E8B-D116-858A-EC47-80BD6AF2BD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38" y="368473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6ED60761-73A6-A05D-E6E1-596B967C8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4" y="1241372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36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B13B303-9934-88D1-F879-E130155052E5}"/>
              </a:ext>
            </a:extLst>
          </p:cNvPr>
          <p:cNvCxnSpPr>
            <a:cxnSpLocks/>
          </p:cNvCxnSpPr>
          <p:nvPr userDrawn="1"/>
        </p:nvCxnSpPr>
        <p:spPr>
          <a:xfrm>
            <a:off x="4457702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505FFAB-B692-3082-CDAD-0716C1937B5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651200" y="-207912"/>
            <a:ext cx="7302399" cy="7302399"/>
          </a:xfrm>
          <a:prstGeom prst="chord">
            <a:avLst>
              <a:gd name="adj1" fmla="val 14891008"/>
              <a:gd name="adj2" fmla="val 14728125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</p:spTree>
    <p:extLst>
      <p:ext uri="{BB962C8B-B14F-4D97-AF65-F5344CB8AC3E}">
        <p14:creationId xmlns:p14="http://schemas.microsoft.com/office/powerpoint/2010/main" val="2620669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  <p15:guide id="3" pos="3744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42DFF7C-E8BA-18FB-FCCA-1D940663230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2144941" y="685800"/>
            <a:ext cx="5486400" cy="5486400"/>
          </a:xfrm>
          <a:prstGeom prst="chord">
            <a:avLst>
              <a:gd name="adj1" fmla="val 16223487"/>
              <a:gd name="adj2" fmla="val 5378999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D1D8B176-81DD-993E-D458-A7ECD380E81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38" y="2173549"/>
            <a:ext cx="7104207" cy="3978275"/>
          </a:xfrm>
        </p:spPr>
        <p:txBody>
          <a:bodyPr lIns="0" rIns="0"/>
          <a:lstStyle>
            <a:lvl1pPr marL="0" indent="0">
              <a:buNone/>
              <a:defRPr sz="2400"/>
            </a:lvl1pPr>
            <a:lvl2pPr marL="457178" indent="0">
              <a:buNone/>
              <a:defRPr sz="2000"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19AD460-3D3E-9747-AF81-CB6FC9FC63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38" y="368473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BC84EEC-76FE-11AF-2758-6332446040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4" y="1241372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36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B120798-3840-9416-8C48-1E7C0A6A261C}"/>
              </a:ext>
            </a:extLst>
          </p:cNvPr>
          <p:cNvCxnSpPr>
            <a:cxnSpLocks/>
          </p:cNvCxnSpPr>
          <p:nvPr userDrawn="1"/>
        </p:nvCxnSpPr>
        <p:spPr>
          <a:xfrm>
            <a:off x="4457702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8380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  <p15:guide id="3" pos="512">
          <p15:clr>
            <a:srgbClr val="FBAE40"/>
          </p15:clr>
        </p15:guide>
        <p15:guide id="4" pos="9728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42DFF7C-E8BA-18FB-FCCA-1D940663230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2143116" y="685593"/>
            <a:ext cx="5486400" cy="5486400"/>
          </a:xfrm>
          <a:prstGeom prst="chord">
            <a:avLst>
              <a:gd name="adj1" fmla="val 16223487"/>
              <a:gd name="adj2" fmla="val 5378999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  <p:sp>
        <p:nvSpPr>
          <p:cNvPr id="2" name="Arc 1">
            <a:extLst>
              <a:ext uri="{FF2B5EF4-FFF2-40B4-BE49-F238E27FC236}">
                <a16:creationId xmlns:a16="http://schemas.microsoft.com/office/drawing/2014/main" id="{62DA2AC3-83E6-3302-EA43-1F0A2914B1E8}"/>
              </a:ext>
            </a:extLst>
          </p:cNvPr>
          <p:cNvSpPr/>
          <p:nvPr userDrawn="1"/>
        </p:nvSpPr>
        <p:spPr>
          <a:xfrm>
            <a:off x="-2279595" y="538732"/>
            <a:ext cx="5808699" cy="5808699"/>
          </a:xfrm>
          <a:prstGeom prst="arc">
            <a:avLst>
              <a:gd name="adj1" fmla="val 16195710"/>
              <a:gd name="adj2" fmla="val 19585927"/>
            </a:avLst>
          </a:prstGeom>
          <a:ln w="355600">
            <a:solidFill>
              <a:schemeClr val="accent5">
                <a:alpha val="7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22D43CF-FCBA-4908-9209-65A409A55A69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C13DF582-A80A-CF43-F360-B0D52A4F499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38" y="2173549"/>
            <a:ext cx="7104207" cy="3978275"/>
          </a:xfrm>
        </p:spPr>
        <p:txBody>
          <a:bodyPr lIns="0" rIns="0"/>
          <a:lstStyle>
            <a:lvl1pPr marL="0" indent="0">
              <a:buNone/>
              <a:defRPr/>
            </a:lvl1pPr>
            <a:lvl2pPr marL="457178" indent="0">
              <a:buNone/>
              <a:defRPr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525D93A-3502-932A-E1EE-8281677DC6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38" y="368473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F9014EBD-CF89-46D7-A57A-3D4B3C3F2EC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4" y="1241372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36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09BEE27-D24F-3768-17B0-EBD09B6F8AF7}"/>
              </a:ext>
            </a:extLst>
          </p:cNvPr>
          <p:cNvCxnSpPr>
            <a:cxnSpLocks/>
          </p:cNvCxnSpPr>
          <p:nvPr userDrawn="1"/>
        </p:nvCxnSpPr>
        <p:spPr>
          <a:xfrm>
            <a:off x="4457702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2376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088">
          <p15:clr>
            <a:srgbClr val="FBAE40"/>
          </p15:clr>
        </p15:guide>
        <p15:guide id="3" pos="512">
          <p15:clr>
            <a:srgbClr val="FBAE40"/>
          </p15:clr>
        </p15:guide>
        <p15:guide id="4" pos="972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42DFF7C-E8BA-18FB-FCCA-1D940663230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2143116" y="685594"/>
            <a:ext cx="5486400" cy="5486400"/>
          </a:xfrm>
          <a:prstGeom prst="chord">
            <a:avLst>
              <a:gd name="adj1" fmla="val 16223487"/>
              <a:gd name="adj2" fmla="val 5378999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  <p:sp>
        <p:nvSpPr>
          <p:cNvPr id="2" name="Arc 1">
            <a:extLst>
              <a:ext uri="{FF2B5EF4-FFF2-40B4-BE49-F238E27FC236}">
                <a16:creationId xmlns:a16="http://schemas.microsoft.com/office/drawing/2014/main" id="{62DA2AC3-83E6-3302-EA43-1F0A2914B1E8}"/>
              </a:ext>
            </a:extLst>
          </p:cNvPr>
          <p:cNvSpPr/>
          <p:nvPr userDrawn="1"/>
        </p:nvSpPr>
        <p:spPr>
          <a:xfrm>
            <a:off x="-2279594" y="538733"/>
            <a:ext cx="5808698" cy="5808698"/>
          </a:xfrm>
          <a:prstGeom prst="arc">
            <a:avLst>
              <a:gd name="adj1" fmla="val 16195710"/>
              <a:gd name="adj2" fmla="val 19585927"/>
            </a:avLst>
          </a:prstGeom>
          <a:ln w="355600">
            <a:solidFill>
              <a:schemeClr val="accent3">
                <a:alpha val="7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DEB4D43-988D-43D1-DC84-6A4C7B322076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3E5FC31C-0AF9-36F1-DA91-FE0805B2C21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37" y="2173548"/>
            <a:ext cx="7104207" cy="3978275"/>
          </a:xfrm>
        </p:spPr>
        <p:txBody>
          <a:bodyPr lIns="0" rIns="0"/>
          <a:lstStyle>
            <a:lvl1pPr marL="0" indent="0">
              <a:buNone/>
              <a:defRPr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412AC3E-A09D-AA81-72D4-7D8982E1A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37" y="368472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3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9E5C6DFD-11DB-3ACA-71A1-10BCA2FA79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3" y="1241371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38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53F3B8A-E92E-892C-0F19-A913BDEDE4FC}"/>
              </a:ext>
            </a:extLst>
          </p:cNvPr>
          <p:cNvCxnSpPr>
            <a:cxnSpLocks/>
          </p:cNvCxnSpPr>
          <p:nvPr userDrawn="1"/>
        </p:nvCxnSpPr>
        <p:spPr>
          <a:xfrm>
            <a:off x="4457701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9207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16">
          <p15:clr>
            <a:srgbClr val="FBAE40"/>
          </p15:clr>
        </p15:guide>
        <p15:guide id="3" pos="384">
          <p15:clr>
            <a:srgbClr val="FBAE40"/>
          </p15:clr>
        </p15:guide>
        <p15:guide id="4" pos="7296">
          <p15:clr>
            <a:srgbClr val="FBAE4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42DFF7C-E8BA-18FB-FCCA-1D940663230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2143116" y="685593"/>
            <a:ext cx="5486400" cy="5486400"/>
          </a:xfrm>
          <a:prstGeom prst="chord">
            <a:avLst>
              <a:gd name="adj1" fmla="val 16223487"/>
              <a:gd name="adj2" fmla="val 5378999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  <p:sp>
        <p:nvSpPr>
          <p:cNvPr id="2" name="Arc 1">
            <a:extLst>
              <a:ext uri="{FF2B5EF4-FFF2-40B4-BE49-F238E27FC236}">
                <a16:creationId xmlns:a16="http://schemas.microsoft.com/office/drawing/2014/main" id="{62DA2AC3-83E6-3302-EA43-1F0A2914B1E8}"/>
              </a:ext>
            </a:extLst>
          </p:cNvPr>
          <p:cNvSpPr/>
          <p:nvPr userDrawn="1"/>
        </p:nvSpPr>
        <p:spPr>
          <a:xfrm>
            <a:off x="-2279595" y="538732"/>
            <a:ext cx="5808699" cy="5808699"/>
          </a:xfrm>
          <a:prstGeom prst="arc">
            <a:avLst>
              <a:gd name="adj1" fmla="val 16195710"/>
              <a:gd name="adj2" fmla="val 19585927"/>
            </a:avLst>
          </a:prstGeom>
          <a:ln w="355600">
            <a:solidFill>
              <a:schemeClr val="accent4">
                <a:alpha val="7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83CF4F8-036F-EE4B-8E20-A66725329977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0F7B0F6B-7EBD-2BB9-D0F6-256B83745D2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38" y="2173549"/>
            <a:ext cx="7104207" cy="3978275"/>
          </a:xfrm>
        </p:spPr>
        <p:txBody>
          <a:bodyPr lIns="0" rIns="0"/>
          <a:lstStyle>
            <a:lvl1pPr marL="0" indent="0">
              <a:buNone/>
              <a:defRPr/>
            </a:lvl1pPr>
            <a:lvl2pPr marL="457178" indent="0">
              <a:buNone/>
              <a:defRPr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66DD974-4C86-9A1D-518F-83938D47BA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38" y="368473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6DE4DE18-9237-EFC3-7247-9CD783E520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4" y="1241372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36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A00ABA-17D9-FED1-D52F-E2DD6C34A3A5}"/>
              </a:ext>
            </a:extLst>
          </p:cNvPr>
          <p:cNvCxnSpPr>
            <a:cxnSpLocks/>
          </p:cNvCxnSpPr>
          <p:nvPr userDrawn="1"/>
        </p:nvCxnSpPr>
        <p:spPr>
          <a:xfrm>
            <a:off x="4457702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3597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088">
          <p15:clr>
            <a:srgbClr val="FBAE40"/>
          </p15:clr>
        </p15:guide>
        <p15:guide id="3" pos="512">
          <p15:clr>
            <a:srgbClr val="FBAE40"/>
          </p15:clr>
        </p15:guide>
        <p15:guide id="4" pos="9728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42DFF7C-E8BA-18FB-FCCA-1D940663230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2143116" y="685593"/>
            <a:ext cx="5486400" cy="5486400"/>
          </a:xfrm>
          <a:prstGeom prst="chord">
            <a:avLst>
              <a:gd name="adj1" fmla="val 16223487"/>
              <a:gd name="adj2" fmla="val 5378999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  <p:sp>
        <p:nvSpPr>
          <p:cNvPr id="2" name="Arc 1">
            <a:extLst>
              <a:ext uri="{FF2B5EF4-FFF2-40B4-BE49-F238E27FC236}">
                <a16:creationId xmlns:a16="http://schemas.microsoft.com/office/drawing/2014/main" id="{62DA2AC3-83E6-3302-EA43-1F0A2914B1E8}"/>
              </a:ext>
            </a:extLst>
          </p:cNvPr>
          <p:cNvSpPr/>
          <p:nvPr userDrawn="1"/>
        </p:nvSpPr>
        <p:spPr>
          <a:xfrm>
            <a:off x="-2279595" y="538732"/>
            <a:ext cx="5808699" cy="5808699"/>
          </a:xfrm>
          <a:prstGeom prst="arc">
            <a:avLst>
              <a:gd name="adj1" fmla="val 16195710"/>
              <a:gd name="adj2" fmla="val 19585927"/>
            </a:avLst>
          </a:prstGeom>
          <a:ln w="355600">
            <a:solidFill>
              <a:schemeClr val="accent3">
                <a:alpha val="7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DEB4D43-988D-43D1-DC84-6A4C7B322076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3E5FC31C-0AF9-36F1-DA91-FE0805B2C21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38" y="2173549"/>
            <a:ext cx="7104207" cy="3978275"/>
          </a:xfrm>
        </p:spPr>
        <p:txBody>
          <a:bodyPr lIns="0" rIns="0"/>
          <a:lstStyle>
            <a:lvl1pPr marL="0" indent="0">
              <a:buNone/>
              <a:defRPr/>
            </a:lvl1pPr>
            <a:lvl2pPr marL="457178" indent="0">
              <a:buNone/>
              <a:defRPr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412AC3E-A09D-AA81-72D4-7D8982E1A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38" y="368473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9E5C6DFD-11DB-3ACA-71A1-10BCA2FA79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4" y="1241372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36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53F3B8A-E92E-892C-0F19-A913BDEDE4FC}"/>
              </a:ext>
            </a:extLst>
          </p:cNvPr>
          <p:cNvCxnSpPr>
            <a:cxnSpLocks/>
          </p:cNvCxnSpPr>
          <p:nvPr userDrawn="1"/>
        </p:nvCxnSpPr>
        <p:spPr>
          <a:xfrm>
            <a:off x="4457702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5308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088">
          <p15:clr>
            <a:srgbClr val="FBAE40"/>
          </p15:clr>
        </p15:guide>
        <p15:guide id="3" pos="512">
          <p15:clr>
            <a:srgbClr val="FBAE40"/>
          </p15:clr>
        </p15:guide>
        <p15:guide id="4" pos="9728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42DFF7C-E8BA-18FB-FCCA-1D940663230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2143116" y="685593"/>
            <a:ext cx="5486400" cy="5486400"/>
          </a:xfrm>
          <a:prstGeom prst="chord">
            <a:avLst>
              <a:gd name="adj1" fmla="val 16223487"/>
              <a:gd name="adj2" fmla="val 5378999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  <p:sp>
        <p:nvSpPr>
          <p:cNvPr id="2" name="Arc 1">
            <a:extLst>
              <a:ext uri="{FF2B5EF4-FFF2-40B4-BE49-F238E27FC236}">
                <a16:creationId xmlns:a16="http://schemas.microsoft.com/office/drawing/2014/main" id="{62DA2AC3-83E6-3302-EA43-1F0A2914B1E8}"/>
              </a:ext>
            </a:extLst>
          </p:cNvPr>
          <p:cNvSpPr/>
          <p:nvPr userDrawn="1"/>
        </p:nvSpPr>
        <p:spPr>
          <a:xfrm>
            <a:off x="-2279595" y="538732"/>
            <a:ext cx="5808699" cy="5808699"/>
          </a:xfrm>
          <a:prstGeom prst="arc">
            <a:avLst>
              <a:gd name="adj1" fmla="val 16195710"/>
              <a:gd name="adj2" fmla="val 19585927"/>
            </a:avLst>
          </a:prstGeom>
          <a:ln w="355600">
            <a:solidFill>
              <a:schemeClr val="accent2">
                <a:alpha val="4694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E836BA6-5575-37A6-6D7E-C160F5F01E80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00BD2CB4-9DBA-8408-CC09-67885095A0E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38" y="2173549"/>
            <a:ext cx="7104207" cy="3978275"/>
          </a:xfrm>
        </p:spPr>
        <p:txBody>
          <a:bodyPr lIns="0" rIns="0"/>
          <a:lstStyle>
            <a:lvl1pPr marL="0" indent="0">
              <a:buNone/>
              <a:defRPr/>
            </a:lvl1pPr>
            <a:lvl2pPr marL="457178" indent="0">
              <a:buNone/>
              <a:defRPr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A770A6E-742D-1F18-C5F0-50A893DC47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38" y="368473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6B53E34-B99F-22BE-1064-B2B1C3E670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4" y="1241372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36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8B72724-55B0-70E8-D19C-2DFEF7251F0C}"/>
              </a:ext>
            </a:extLst>
          </p:cNvPr>
          <p:cNvCxnSpPr>
            <a:cxnSpLocks/>
          </p:cNvCxnSpPr>
          <p:nvPr userDrawn="1"/>
        </p:nvCxnSpPr>
        <p:spPr>
          <a:xfrm>
            <a:off x="4457702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6905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088">
          <p15:clr>
            <a:srgbClr val="FBAE40"/>
          </p15:clr>
        </p15:guide>
        <p15:guide id="3" pos="512">
          <p15:clr>
            <a:srgbClr val="FBAE40"/>
          </p15:clr>
        </p15:guide>
        <p15:guide id="4" pos="9728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ord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6203560" y="1409659"/>
            <a:ext cx="4062661" cy="4062661"/>
          </a:xfrm>
          <a:prstGeom prst="chord">
            <a:avLst>
              <a:gd name="adj1" fmla="val 5380442"/>
              <a:gd name="adj2" fmla="val 16200000"/>
            </a:avLst>
          </a:prstGeom>
          <a:solidFill>
            <a:schemeClr val="accent5">
              <a:alpha val="14000"/>
            </a:schemeClr>
          </a:solidFill>
          <a:ln w="3810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59" r="170"/>
          <a:stretch/>
        </p:blipFill>
        <p:spPr>
          <a:xfrm>
            <a:off x="8238562" y="0"/>
            <a:ext cx="3953439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8238564" y="0"/>
            <a:ext cx="3953437" cy="6858000"/>
          </a:xfrm>
          <a:prstGeom prst="rect">
            <a:avLst/>
          </a:prstGeom>
          <a:solidFill>
            <a:schemeClr val="accent5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F597556C-921F-8A86-4312-95EAE44E731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4087" y="1907261"/>
            <a:ext cx="5319513" cy="4354993"/>
          </a:xfrm>
        </p:spPr>
        <p:txBody>
          <a:bodyPr lIns="0" rIns="0"/>
          <a:lstStyle>
            <a:lvl1pPr marL="0" indent="0">
              <a:buNone/>
              <a:defRPr/>
            </a:lvl1pPr>
            <a:lvl2pPr marL="457178" indent="0">
              <a:buNone/>
              <a:defRPr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C5E39A7-32B5-A4CA-7EB6-0CF0F105FF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365" y="269044"/>
            <a:ext cx="5318235" cy="523220"/>
          </a:xfrm>
        </p:spPr>
        <p:txBody>
          <a:bodyPr wrap="square" lIns="0" rIns="0" anchor="b">
            <a:sp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BF1C4B2-7895-8661-D5BA-28609D34E2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5365" y="989733"/>
            <a:ext cx="5318235" cy="400110"/>
          </a:xfrm>
        </p:spPr>
        <p:txBody>
          <a:bodyPr wrap="square" lIns="0" rIns="0">
            <a:spAutoFit/>
          </a:bodyPr>
          <a:lstStyle>
            <a:lvl1pPr marL="0" indent="0" algn="l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C6EDF7-A28E-CA58-E0DE-30C4A8CF1043}"/>
              </a:ext>
            </a:extLst>
          </p:cNvPr>
          <p:cNvCxnSpPr>
            <a:cxnSpLocks/>
          </p:cNvCxnSpPr>
          <p:nvPr userDrawn="1"/>
        </p:nvCxnSpPr>
        <p:spPr>
          <a:xfrm>
            <a:off x="625367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9" name="Picture 1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490E5B3-7867-69E6-A4BD-CCC34DDB077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384E2753-8378-A889-2BF7-63F1D469C15F}"/>
              </a:ext>
            </a:extLst>
          </p:cNvPr>
          <p:cNvSpPr/>
          <p:nvPr userDrawn="1"/>
        </p:nvSpPr>
        <p:spPr>
          <a:xfrm>
            <a:off x="6544607" y="1750704"/>
            <a:ext cx="3380568" cy="338056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6E5DF571-44A5-A36E-77C0-B0517DF656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88985" y="1990534"/>
            <a:ext cx="2891812" cy="2900907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54375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4992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ord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6203560" y="1409659"/>
            <a:ext cx="4062661" cy="4062661"/>
          </a:xfrm>
          <a:prstGeom prst="chord">
            <a:avLst>
              <a:gd name="adj1" fmla="val 5380442"/>
              <a:gd name="adj2" fmla="val 16200000"/>
            </a:avLst>
          </a:prstGeom>
          <a:solidFill>
            <a:schemeClr val="accent4">
              <a:alpha val="14000"/>
            </a:schemeClr>
          </a:solidFill>
          <a:ln w="3810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59" r="170"/>
          <a:stretch/>
        </p:blipFill>
        <p:spPr>
          <a:xfrm>
            <a:off x="8238562" y="0"/>
            <a:ext cx="3953439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8238564" y="0"/>
            <a:ext cx="3953437" cy="6858000"/>
          </a:xfrm>
          <a:prstGeom prst="rect">
            <a:avLst/>
          </a:prstGeom>
          <a:solidFill>
            <a:schemeClr val="accent4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F597556C-921F-8A86-4312-95EAE44E731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4087" y="1907261"/>
            <a:ext cx="5319513" cy="4354993"/>
          </a:xfrm>
        </p:spPr>
        <p:txBody>
          <a:bodyPr lIns="0" rIns="0"/>
          <a:lstStyle>
            <a:lvl1pPr marL="0" indent="0">
              <a:buNone/>
              <a:defRPr/>
            </a:lvl1pPr>
            <a:lvl2pPr marL="457178" indent="0">
              <a:buNone/>
              <a:defRPr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C5E39A7-32B5-A4CA-7EB6-0CF0F105FF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365" y="269044"/>
            <a:ext cx="5318235" cy="523220"/>
          </a:xfrm>
        </p:spPr>
        <p:txBody>
          <a:bodyPr wrap="square" lIns="0" rIns="0" anchor="b">
            <a:sp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BF1C4B2-7895-8661-D5BA-28609D34E2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5365" y="989733"/>
            <a:ext cx="5318235" cy="400110"/>
          </a:xfrm>
        </p:spPr>
        <p:txBody>
          <a:bodyPr wrap="square" lIns="0" rIns="0">
            <a:spAutoFit/>
          </a:bodyPr>
          <a:lstStyle>
            <a:lvl1pPr marL="0" indent="0" algn="l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C6EDF7-A28E-CA58-E0DE-30C4A8CF1043}"/>
              </a:ext>
            </a:extLst>
          </p:cNvPr>
          <p:cNvCxnSpPr>
            <a:cxnSpLocks/>
          </p:cNvCxnSpPr>
          <p:nvPr userDrawn="1"/>
        </p:nvCxnSpPr>
        <p:spPr>
          <a:xfrm>
            <a:off x="625367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9" name="Picture 1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490E5B3-7867-69E6-A4BD-CCC34DDB077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384E2753-8378-A889-2BF7-63F1D469C15F}"/>
              </a:ext>
            </a:extLst>
          </p:cNvPr>
          <p:cNvSpPr/>
          <p:nvPr userDrawn="1"/>
        </p:nvSpPr>
        <p:spPr>
          <a:xfrm>
            <a:off x="6544607" y="1750704"/>
            <a:ext cx="3380568" cy="338056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6E5DF571-44A5-A36E-77C0-B0517DF656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88985" y="1990534"/>
            <a:ext cx="2891812" cy="2900907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95602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4992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ord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6203560" y="1409659"/>
            <a:ext cx="4062661" cy="4062661"/>
          </a:xfrm>
          <a:prstGeom prst="chord">
            <a:avLst>
              <a:gd name="adj1" fmla="val 5380442"/>
              <a:gd name="adj2" fmla="val 16200000"/>
            </a:avLst>
          </a:prstGeom>
          <a:solidFill>
            <a:schemeClr val="accent3">
              <a:alpha val="14000"/>
            </a:schemeClr>
          </a:solidFill>
          <a:ln w="3810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59" r="170"/>
          <a:stretch/>
        </p:blipFill>
        <p:spPr>
          <a:xfrm>
            <a:off x="8238562" y="0"/>
            <a:ext cx="3953439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8238564" y="0"/>
            <a:ext cx="3953437" cy="6858000"/>
          </a:xfrm>
          <a:prstGeom prst="rect">
            <a:avLst/>
          </a:prstGeom>
          <a:solidFill>
            <a:schemeClr val="accent3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F597556C-921F-8A86-4312-95EAE44E731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4087" y="1907261"/>
            <a:ext cx="5319513" cy="4354993"/>
          </a:xfrm>
        </p:spPr>
        <p:txBody>
          <a:bodyPr lIns="0" rIns="0"/>
          <a:lstStyle>
            <a:lvl1pPr marL="0" indent="0">
              <a:buNone/>
              <a:defRPr/>
            </a:lvl1pPr>
            <a:lvl2pPr marL="457178" indent="0">
              <a:buNone/>
              <a:defRPr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C5E39A7-32B5-A4CA-7EB6-0CF0F105FF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365" y="269044"/>
            <a:ext cx="5318235" cy="523220"/>
          </a:xfrm>
        </p:spPr>
        <p:txBody>
          <a:bodyPr wrap="square" lIns="0" rIns="0" anchor="b">
            <a:sp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BF1C4B2-7895-8661-D5BA-28609D34E2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5365" y="989733"/>
            <a:ext cx="5318235" cy="400110"/>
          </a:xfrm>
        </p:spPr>
        <p:txBody>
          <a:bodyPr wrap="square" lIns="0" rIns="0">
            <a:spAutoFit/>
          </a:bodyPr>
          <a:lstStyle>
            <a:lvl1pPr marL="0" indent="0" algn="l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C6EDF7-A28E-CA58-E0DE-30C4A8CF1043}"/>
              </a:ext>
            </a:extLst>
          </p:cNvPr>
          <p:cNvCxnSpPr>
            <a:cxnSpLocks/>
          </p:cNvCxnSpPr>
          <p:nvPr userDrawn="1"/>
        </p:nvCxnSpPr>
        <p:spPr>
          <a:xfrm>
            <a:off x="625367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9" name="Picture 1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490E5B3-7867-69E6-A4BD-CCC34DDB077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384E2753-8378-A889-2BF7-63F1D469C15F}"/>
              </a:ext>
            </a:extLst>
          </p:cNvPr>
          <p:cNvSpPr/>
          <p:nvPr userDrawn="1"/>
        </p:nvSpPr>
        <p:spPr>
          <a:xfrm>
            <a:off x="6544607" y="1750704"/>
            <a:ext cx="3380568" cy="338056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6E5DF571-44A5-A36E-77C0-B0517DF656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88985" y="1990534"/>
            <a:ext cx="2891812" cy="2900907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4204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4992">
          <p15:clr>
            <a:srgbClr val="FBAE40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ord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6203560" y="1409659"/>
            <a:ext cx="4062661" cy="4062661"/>
          </a:xfrm>
          <a:prstGeom prst="chord">
            <a:avLst>
              <a:gd name="adj1" fmla="val 5380442"/>
              <a:gd name="adj2" fmla="val 16200000"/>
            </a:avLst>
          </a:prstGeom>
          <a:solidFill>
            <a:schemeClr val="accent2">
              <a:alpha val="14000"/>
            </a:schemeClr>
          </a:solidFill>
          <a:ln w="3810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59" r="170"/>
          <a:stretch/>
        </p:blipFill>
        <p:spPr>
          <a:xfrm>
            <a:off x="8238562" y="0"/>
            <a:ext cx="3953439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8238564" y="0"/>
            <a:ext cx="3953437" cy="6858000"/>
          </a:xfrm>
          <a:prstGeom prst="rect">
            <a:avLst/>
          </a:prstGeom>
          <a:solidFill>
            <a:schemeClr val="accent2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F597556C-921F-8A86-4312-95EAE44E731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4087" y="1907261"/>
            <a:ext cx="5319513" cy="4354993"/>
          </a:xfrm>
        </p:spPr>
        <p:txBody>
          <a:bodyPr lIns="0" rIns="0"/>
          <a:lstStyle>
            <a:lvl1pPr marL="0" indent="0">
              <a:buNone/>
              <a:defRPr/>
            </a:lvl1pPr>
            <a:lvl2pPr marL="457178" indent="0">
              <a:buNone/>
              <a:defRPr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C5E39A7-32B5-A4CA-7EB6-0CF0F105FF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365" y="269044"/>
            <a:ext cx="5318235" cy="523220"/>
          </a:xfrm>
        </p:spPr>
        <p:txBody>
          <a:bodyPr wrap="square" lIns="0" rIns="0" anchor="b">
            <a:sp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BF1C4B2-7895-8661-D5BA-28609D34E2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5365" y="989733"/>
            <a:ext cx="5318235" cy="400110"/>
          </a:xfrm>
        </p:spPr>
        <p:txBody>
          <a:bodyPr wrap="square" lIns="0" rIns="0">
            <a:spAutoFit/>
          </a:bodyPr>
          <a:lstStyle>
            <a:lvl1pPr marL="0" indent="0" algn="l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C6EDF7-A28E-CA58-E0DE-30C4A8CF1043}"/>
              </a:ext>
            </a:extLst>
          </p:cNvPr>
          <p:cNvCxnSpPr>
            <a:cxnSpLocks/>
          </p:cNvCxnSpPr>
          <p:nvPr userDrawn="1"/>
        </p:nvCxnSpPr>
        <p:spPr>
          <a:xfrm>
            <a:off x="625367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9" name="Picture 1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490E5B3-7867-69E6-A4BD-CCC34DDB077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384E2753-8378-A889-2BF7-63F1D469C15F}"/>
              </a:ext>
            </a:extLst>
          </p:cNvPr>
          <p:cNvSpPr/>
          <p:nvPr userDrawn="1"/>
        </p:nvSpPr>
        <p:spPr>
          <a:xfrm>
            <a:off x="6544607" y="1750704"/>
            <a:ext cx="3380568" cy="338056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6E5DF571-44A5-A36E-77C0-B0517DF656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88985" y="1990534"/>
            <a:ext cx="2891812" cy="2900907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80347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4992">
          <p15:clr>
            <a:srgbClr val="FBAE40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8E2F7EE-7709-35BA-E127-C50BC1009EB5}"/>
              </a:ext>
            </a:extLst>
          </p:cNvPr>
          <p:cNvGrpSpPr/>
          <p:nvPr userDrawn="1"/>
        </p:nvGrpSpPr>
        <p:grpSpPr>
          <a:xfrm>
            <a:off x="7392509" y="-3678194"/>
            <a:ext cx="5720108" cy="5720108"/>
            <a:chOff x="105150" y="-3122465"/>
            <a:chExt cx="5720108" cy="5720108"/>
          </a:xfrm>
        </p:grpSpPr>
        <p:sp>
          <p:nvSpPr>
            <p:cNvPr id="13" name="Chord 12">
              <a:extLst>
                <a:ext uri="{FF2B5EF4-FFF2-40B4-BE49-F238E27FC236}">
                  <a16:creationId xmlns:a16="http://schemas.microsoft.com/office/drawing/2014/main" id="{CFC3B866-3DF5-6AE9-F330-2CEFF3126B8E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972540"/>
                <a:gd name="adj2" fmla="val 988089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7" name="Chord 16">
              <a:extLst>
                <a:ext uri="{FF2B5EF4-FFF2-40B4-BE49-F238E27FC236}">
                  <a16:creationId xmlns:a16="http://schemas.microsoft.com/office/drawing/2014/main" id="{77547FDB-7552-1776-A57C-6D2898A85D30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171149"/>
                <a:gd name="adj2" fmla="val 959543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8" name="Chord 17">
              <a:extLst>
                <a:ext uri="{FF2B5EF4-FFF2-40B4-BE49-F238E27FC236}">
                  <a16:creationId xmlns:a16="http://schemas.microsoft.com/office/drawing/2014/main" id="{8E1EBB78-23CA-495F-E7D4-052BBA798DA1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517033"/>
                <a:gd name="adj2" fmla="val 9345714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D368C0C-6AE5-6848-0E96-7325AE63A9B4}"/>
              </a:ext>
            </a:extLst>
          </p:cNvPr>
          <p:cNvGrpSpPr/>
          <p:nvPr userDrawn="1"/>
        </p:nvGrpSpPr>
        <p:grpSpPr>
          <a:xfrm rot="10800000">
            <a:off x="-989286" y="5065530"/>
            <a:ext cx="5720108" cy="5720108"/>
            <a:chOff x="105150" y="-3122465"/>
            <a:chExt cx="5720108" cy="5720108"/>
          </a:xfrm>
        </p:grpSpPr>
        <p:sp>
          <p:nvSpPr>
            <p:cNvPr id="20" name="Chord 19">
              <a:extLst>
                <a:ext uri="{FF2B5EF4-FFF2-40B4-BE49-F238E27FC236}">
                  <a16:creationId xmlns:a16="http://schemas.microsoft.com/office/drawing/2014/main" id="{55C18862-C275-34CA-0FF9-D648867E5C13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215574"/>
                <a:gd name="adj2" fmla="val 9610099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1" name="Chord 20">
              <a:extLst>
                <a:ext uri="{FF2B5EF4-FFF2-40B4-BE49-F238E27FC236}">
                  <a16:creationId xmlns:a16="http://schemas.microsoft.com/office/drawing/2014/main" id="{C643B53E-DE3F-C827-26B2-3F973467D24F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503614"/>
                <a:gd name="adj2" fmla="val 9282250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2" name="Chord 21">
              <a:extLst>
                <a:ext uri="{FF2B5EF4-FFF2-40B4-BE49-F238E27FC236}">
                  <a16:creationId xmlns:a16="http://schemas.microsoft.com/office/drawing/2014/main" id="{8AD67EB1-5666-9C24-2C0E-448AB847B637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82273"/>
                <a:gd name="adj2" fmla="val 8808404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0A24EED9-4ADC-C399-7382-301E46A0CC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F5CDCDF-0943-B2E8-8886-A788DF7179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3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B4044E7-D165-021E-FE1B-FD68226DB0E4}"/>
              </a:ext>
            </a:extLst>
          </p:cNvPr>
          <p:cNvCxnSpPr>
            <a:cxnSpLocks/>
          </p:cNvCxnSpPr>
          <p:nvPr userDrawn="1"/>
        </p:nvCxnSpPr>
        <p:spPr>
          <a:xfrm>
            <a:off x="5243079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2FA1AA87-ED82-9197-6BF3-32B0F8579B01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24" name="Picture 2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78CA3334-FFDD-A2BC-1614-72E1172369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A2929E4-AA46-CC31-0FA0-F45E8D4B932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09601" y="1688463"/>
            <a:ext cx="10972801" cy="437083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z="2400"/>
              <a:t>Click to edit text</a:t>
            </a:r>
          </a:p>
          <a:p>
            <a:pPr marL="406381" lvl="1" indent="-242877"/>
            <a:r>
              <a:rPr lang="en-US" sz="2000"/>
              <a:t>Second level</a:t>
            </a:r>
          </a:p>
          <a:p>
            <a:pPr marL="744501" lvl="2" indent="-220652"/>
            <a:r>
              <a:rPr lang="en-US" sz="1800"/>
              <a:t>Third level</a:t>
            </a:r>
          </a:p>
          <a:p>
            <a:pPr marL="1206441" lvl="3" indent="-234939"/>
            <a:r>
              <a:rPr lang="en-US" sz="1600"/>
              <a:t>Fourth level</a:t>
            </a:r>
          </a:p>
          <a:p>
            <a:pPr marL="1716002" lvl="4" indent="-227002"/>
            <a:r>
              <a:rPr lang="en-US" sz="160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2126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-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50AB8BE2-3203-B29A-6549-F4662A7362DE}"/>
              </a:ext>
            </a:extLst>
          </p:cNvPr>
          <p:cNvGrpSpPr/>
          <p:nvPr userDrawn="1"/>
        </p:nvGrpSpPr>
        <p:grpSpPr>
          <a:xfrm>
            <a:off x="7392509" y="-3678194"/>
            <a:ext cx="5720108" cy="5720108"/>
            <a:chOff x="105150" y="-3122465"/>
            <a:chExt cx="5720108" cy="5720108"/>
          </a:xfrm>
        </p:grpSpPr>
        <p:sp>
          <p:nvSpPr>
            <p:cNvPr id="30" name="Chord 29">
              <a:extLst>
                <a:ext uri="{FF2B5EF4-FFF2-40B4-BE49-F238E27FC236}">
                  <a16:creationId xmlns:a16="http://schemas.microsoft.com/office/drawing/2014/main" id="{1A9E727C-B5A7-DDC4-5F65-307DD1BC2ACA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972540"/>
                <a:gd name="adj2" fmla="val 988089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1" name="Chord 30">
              <a:extLst>
                <a:ext uri="{FF2B5EF4-FFF2-40B4-BE49-F238E27FC236}">
                  <a16:creationId xmlns:a16="http://schemas.microsoft.com/office/drawing/2014/main" id="{D831F826-05DC-A9B0-1C1D-BEE636C2AB32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171149"/>
                <a:gd name="adj2" fmla="val 959543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2" name="Chord 31">
              <a:extLst>
                <a:ext uri="{FF2B5EF4-FFF2-40B4-BE49-F238E27FC236}">
                  <a16:creationId xmlns:a16="http://schemas.microsoft.com/office/drawing/2014/main" id="{4EF2C1D6-D255-62B4-D41F-19567F524BA0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517033"/>
                <a:gd name="adj2" fmla="val 9345714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E1A43A9-A101-1699-F9ED-D93E9BCFA3AA}"/>
              </a:ext>
            </a:extLst>
          </p:cNvPr>
          <p:cNvGrpSpPr/>
          <p:nvPr userDrawn="1"/>
        </p:nvGrpSpPr>
        <p:grpSpPr>
          <a:xfrm rot="10800000">
            <a:off x="-989286" y="5065530"/>
            <a:ext cx="5720108" cy="5720108"/>
            <a:chOff x="105150" y="-3122465"/>
            <a:chExt cx="5720108" cy="5720108"/>
          </a:xfrm>
        </p:grpSpPr>
        <p:sp>
          <p:nvSpPr>
            <p:cNvPr id="26" name="Chord 25">
              <a:extLst>
                <a:ext uri="{FF2B5EF4-FFF2-40B4-BE49-F238E27FC236}">
                  <a16:creationId xmlns:a16="http://schemas.microsoft.com/office/drawing/2014/main" id="{789F3800-E40C-8693-B5C5-16EDBA3B954E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215574"/>
                <a:gd name="adj2" fmla="val 9610099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7" name="Chord 26">
              <a:extLst>
                <a:ext uri="{FF2B5EF4-FFF2-40B4-BE49-F238E27FC236}">
                  <a16:creationId xmlns:a16="http://schemas.microsoft.com/office/drawing/2014/main" id="{13C2E123-3187-2B89-C07D-A1B2E77F3893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503614"/>
                <a:gd name="adj2" fmla="val 9282250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8" name="Chord 27">
              <a:extLst>
                <a:ext uri="{FF2B5EF4-FFF2-40B4-BE49-F238E27FC236}">
                  <a16:creationId xmlns:a16="http://schemas.microsoft.com/office/drawing/2014/main" id="{016E9895-16D1-6E83-FA72-F2BF6E083EC4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82273"/>
                <a:gd name="adj2" fmla="val 8808404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B5E0138-3A7C-947A-1805-6A974EDC98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no footer – to keep one line if possib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F3D3896-21F7-E606-32AE-78C80324F0E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3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6CCFDFF-0D99-CD81-3E40-E7EA1D9C0266}"/>
              </a:ext>
            </a:extLst>
          </p:cNvPr>
          <p:cNvCxnSpPr>
            <a:cxnSpLocks/>
          </p:cNvCxnSpPr>
          <p:nvPr userDrawn="1"/>
        </p:nvCxnSpPr>
        <p:spPr>
          <a:xfrm>
            <a:off x="5243079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B8B0E428-5670-D914-1E9A-0EB3598EE8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09601" y="1688464"/>
            <a:ext cx="10972801" cy="443484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None/>
              <a:defRPr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5pPr>
          </a:lstStyle>
          <a:p>
            <a:r>
              <a:rPr lang="en-US" sz="2400"/>
              <a:t>Click to edit text</a:t>
            </a:r>
          </a:p>
          <a:p>
            <a:pPr marL="406381" lvl="1" indent="-242877"/>
            <a:r>
              <a:rPr lang="en-US" sz="2000"/>
              <a:t>Second level</a:t>
            </a:r>
          </a:p>
          <a:p>
            <a:pPr marL="744501" lvl="2" indent="-220652"/>
            <a:r>
              <a:rPr lang="en-US" sz="1800"/>
              <a:t>Third level</a:t>
            </a:r>
          </a:p>
          <a:p>
            <a:pPr marL="1206441" lvl="3" indent="-234939"/>
            <a:r>
              <a:rPr lang="en-US" sz="1600"/>
              <a:t>Fourth level</a:t>
            </a:r>
          </a:p>
          <a:p>
            <a:pPr marL="1716002" lvl="4" indent="-227002"/>
            <a:r>
              <a:rPr lang="en-US" sz="160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203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120">
          <p15:clr>
            <a:srgbClr val="FBAE40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42CF21A0-6A91-895A-CE7E-1B73C0CBC0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88541"/>
            <a:ext cx="10972800" cy="984885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the slide title – use this slide template for longer titles that go on 2 lines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1C59ED0-DFF6-9CFB-E870-E3E5A6ADCF5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1329889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9E6CC12-A8E1-0799-C9E2-B223F4FBBD47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0" name="Picture 9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3B3BD67E-AAB3-7AE8-D165-0936A4B443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ED66CFB-7627-E5C3-BBBC-B369F84A3A0B}"/>
              </a:ext>
            </a:extLst>
          </p:cNvPr>
          <p:cNvCxnSpPr>
            <a:cxnSpLocks/>
          </p:cNvCxnSpPr>
          <p:nvPr userDrawn="1"/>
        </p:nvCxnSpPr>
        <p:spPr>
          <a:xfrm>
            <a:off x="5243079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22CDFF11-44D3-6398-ACBB-F7E4B6E10DA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09601" y="1975559"/>
            <a:ext cx="10972801" cy="4256277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None/>
              <a:defRPr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5pPr>
          </a:lstStyle>
          <a:p>
            <a:r>
              <a:rPr lang="en-US" sz="2400"/>
              <a:t>Click to edit text</a:t>
            </a:r>
          </a:p>
          <a:p>
            <a:pPr marL="406381" lvl="1" indent="-242877"/>
            <a:r>
              <a:rPr lang="en-US" sz="2000"/>
              <a:t>Second level</a:t>
            </a:r>
          </a:p>
          <a:p>
            <a:pPr marL="744501" lvl="2" indent="-220652"/>
            <a:r>
              <a:rPr lang="en-US" sz="1800"/>
              <a:t>Third level</a:t>
            </a:r>
          </a:p>
          <a:p>
            <a:pPr marL="1206441" lvl="3" indent="-234939"/>
            <a:r>
              <a:rPr lang="en-US" sz="1600"/>
              <a:t>Fourth level</a:t>
            </a:r>
          </a:p>
          <a:p>
            <a:pPr marL="1716002" lvl="4" indent="-227002"/>
            <a:r>
              <a:rPr lang="en-US" sz="160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83234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42DFF7C-E8BA-18FB-FCCA-1D940663230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2143116" y="685594"/>
            <a:ext cx="5486400" cy="5486400"/>
          </a:xfrm>
          <a:prstGeom prst="chord">
            <a:avLst>
              <a:gd name="adj1" fmla="val 16223487"/>
              <a:gd name="adj2" fmla="val 5378999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  <p:sp>
        <p:nvSpPr>
          <p:cNvPr id="2" name="Arc 1">
            <a:extLst>
              <a:ext uri="{FF2B5EF4-FFF2-40B4-BE49-F238E27FC236}">
                <a16:creationId xmlns:a16="http://schemas.microsoft.com/office/drawing/2014/main" id="{62DA2AC3-83E6-3302-EA43-1F0A2914B1E8}"/>
              </a:ext>
            </a:extLst>
          </p:cNvPr>
          <p:cNvSpPr/>
          <p:nvPr userDrawn="1"/>
        </p:nvSpPr>
        <p:spPr>
          <a:xfrm>
            <a:off x="-2279594" y="538733"/>
            <a:ext cx="5808698" cy="5808698"/>
          </a:xfrm>
          <a:prstGeom prst="arc">
            <a:avLst>
              <a:gd name="adj1" fmla="val 16195710"/>
              <a:gd name="adj2" fmla="val 19585927"/>
            </a:avLst>
          </a:prstGeom>
          <a:ln w="355600">
            <a:solidFill>
              <a:schemeClr val="accent2">
                <a:alpha val="4694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E836BA6-5575-37A6-6D7E-C160F5F01E80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00BD2CB4-9DBA-8408-CC09-67885095A0E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37" y="2173548"/>
            <a:ext cx="7104207" cy="3978275"/>
          </a:xfrm>
        </p:spPr>
        <p:txBody>
          <a:bodyPr lIns="0" rIns="0"/>
          <a:lstStyle>
            <a:lvl1pPr marL="0" indent="0">
              <a:buNone/>
              <a:defRPr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A770A6E-742D-1F18-C5F0-50A893DC47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37" y="368472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3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6B53E34-B99F-22BE-1064-B2B1C3E670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3" y="1241371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38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8B72724-55B0-70E8-D19C-2DFEF7251F0C}"/>
              </a:ext>
            </a:extLst>
          </p:cNvPr>
          <p:cNvCxnSpPr>
            <a:cxnSpLocks/>
          </p:cNvCxnSpPr>
          <p:nvPr userDrawn="1"/>
        </p:nvCxnSpPr>
        <p:spPr>
          <a:xfrm>
            <a:off x="4457701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4295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16">
          <p15:clr>
            <a:srgbClr val="FBAE40"/>
          </p15:clr>
        </p15:guide>
        <p15:guide id="3" pos="384">
          <p15:clr>
            <a:srgbClr val="FBAE40"/>
          </p15:clr>
        </p15:guide>
        <p15:guide id="4" pos="7296">
          <p15:clr>
            <a:srgbClr val="FBAE40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6313D4-977E-A5F2-6EC7-B1462BF548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367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No background layout – Click to add slid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4DF489C-64CD-4A63-833D-6B9A60F58F1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5367" y="989733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D7BB8B2-4A22-8A66-8036-6D8CE72F8D66}"/>
              </a:ext>
            </a:extLst>
          </p:cNvPr>
          <p:cNvCxnSpPr>
            <a:cxnSpLocks/>
          </p:cNvCxnSpPr>
          <p:nvPr userDrawn="1"/>
        </p:nvCxnSpPr>
        <p:spPr>
          <a:xfrm>
            <a:off x="5258844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E626FCA-CB63-6310-722E-F15225B2C263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C7B1B2CF-CB17-B455-3AC4-C989FAE632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D44C8C58-5417-F20F-CE72-487729D4C37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09601" y="1688464"/>
            <a:ext cx="10972801" cy="443484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None/>
              <a:defRPr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5pPr>
          </a:lstStyle>
          <a:p>
            <a:r>
              <a:rPr lang="en-US" sz="2400"/>
              <a:t>Click to edit text</a:t>
            </a:r>
          </a:p>
          <a:p>
            <a:pPr marL="406381" lvl="1" indent="-242877"/>
            <a:r>
              <a:rPr lang="en-US" sz="2000"/>
              <a:t>Second level</a:t>
            </a:r>
          </a:p>
          <a:p>
            <a:pPr marL="744501" lvl="2" indent="-220652"/>
            <a:r>
              <a:rPr lang="en-US" sz="1800"/>
              <a:t>Third level</a:t>
            </a:r>
          </a:p>
          <a:p>
            <a:pPr marL="1206441" lvl="3" indent="-234939"/>
            <a:r>
              <a:rPr lang="en-US" sz="1600"/>
              <a:t>Fourth level</a:t>
            </a:r>
          </a:p>
          <a:p>
            <a:pPr marL="1716002" lvl="4" indent="-227002"/>
            <a:r>
              <a:rPr lang="en-US" sz="160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29767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background,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6313D4-977E-A5F2-6EC7-B1462BF548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367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No background, no footer layout – Click to add slide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4DF489C-64CD-4A63-833D-6B9A60F58F1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5367" y="989733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D7BB8B2-4A22-8A66-8036-6D8CE72F8D66}"/>
              </a:ext>
            </a:extLst>
          </p:cNvPr>
          <p:cNvCxnSpPr>
            <a:cxnSpLocks/>
          </p:cNvCxnSpPr>
          <p:nvPr userDrawn="1"/>
        </p:nvCxnSpPr>
        <p:spPr>
          <a:xfrm>
            <a:off x="5258844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EEB9A123-42CF-9EF7-202E-ED7386AB1F8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09601" y="1688464"/>
            <a:ext cx="10972801" cy="443484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None/>
              <a:defRPr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5pPr>
          </a:lstStyle>
          <a:p>
            <a:r>
              <a:rPr lang="en-US" sz="2400"/>
              <a:t>Click to edit text</a:t>
            </a:r>
          </a:p>
          <a:p>
            <a:pPr marL="406381" lvl="1" indent="-242877"/>
            <a:r>
              <a:rPr lang="en-US" sz="2000"/>
              <a:t>Second level</a:t>
            </a:r>
          </a:p>
          <a:p>
            <a:pPr marL="744501" lvl="2" indent="-220652"/>
            <a:r>
              <a:rPr lang="en-US" sz="1800"/>
              <a:t>Third level</a:t>
            </a:r>
          </a:p>
          <a:p>
            <a:pPr marL="1206441" lvl="3" indent="-234939"/>
            <a:r>
              <a:rPr lang="en-US" sz="1600"/>
              <a:t>Fourth level</a:t>
            </a:r>
          </a:p>
          <a:p>
            <a:pPr marL="1716002" lvl="4" indent="-227002"/>
            <a:r>
              <a:rPr lang="en-US" sz="160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1491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 and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FA822A4-B2F7-C631-91E2-4BD1209D7809}"/>
              </a:ext>
            </a:extLst>
          </p:cNvPr>
          <p:cNvGrpSpPr/>
          <p:nvPr userDrawn="1"/>
        </p:nvGrpSpPr>
        <p:grpSpPr>
          <a:xfrm rot="10800000">
            <a:off x="12033" y="4830966"/>
            <a:ext cx="6921331" cy="6921331"/>
            <a:chOff x="105150" y="-3122465"/>
            <a:chExt cx="5720108" cy="5720108"/>
          </a:xfrm>
        </p:grpSpPr>
        <p:sp>
          <p:nvSpPr>
            <p:cNvPr id="11" name="Chord 10">
              <a:extLst>
                <a:ext uri="{FF2B5EF4-FFF2-40B4-BE49-F238E27FC236}">
                  <a16:creationId xmlns:a16="http://schemas.microsoft.com/office/drawing/2014/main" id="{34A4E3B5-C00F-E00B-24E5-D0F1E3B3801E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261286"/>
                <a:gd name="adj2" fmla="val 9655466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2" name="Chord 11">
              <a:extLst>
                <a:ext uri="{FF2B5EF4-FFF2-40B4-BE49-F238E27FC236}">
                  <a16:creationId xmlns:a16="http://schemas.microsoft.com/office/drawing/2014/main" id="{6A8D66C2-1067-4EA5-495B-48BBCE58B32A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316505"/>
                <a:gd name="adj2" fmla="val 9253254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3" name="Chord 12">
              <a:extLst>
                <a:ext uri="{FF2B5EF4-FFF2-40B4-BE49-F238E27FC236}">
                  <a16:creationId xmlns:a16="http://schemas.microsoft.com/office/drawing/2014/main" id="{EA1CE5E8-44F0-898E-5207-31ACD20D8153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808574"/>
                <a:gd name="adj2" fmla="val 8936025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0BAC59C-0883-64A3-8BA5-74A88469C376}"/>
              </a:ext>
            </a:extLst>
          </p:cNvPr>
          <p:cNvGrpSpPr/>
          <p:nvPr userDrawn="1"/>
        </p:nvGrpSpPr>
        <p:grpSpPr>
          <a:xfrm>
            <a:off x="6064163" y="-3899901"/>
            <a:ext cx="7613464" cy="7613464"/>
            <a:chOff x="105150" y="-3122465"/>
            <a:chExt cx="5720108" cy="5720108"/>
          </a:xfrm>
        </p:grpSpPr>
        <p:sp>
          <p:nvSpPr>
            <p:cNvPr id="15" name="Chord 14">
              <a:extLst>
                <a:ext uri="{FF2B5EF4-FFF2-40B4-BE49-F238E27FC236}">
                  <a16:creationId xmlns:a16="http://schemas.microsoft.com/office/drawing/2014/main" id="{C39A5B3A-9F7B-B7F4-EFF8-81960CFA3883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6" name="Chord 15">
              <a:extLst>
                <a:ext uri="{FF2B5EF4-FFF2-40B4-BE49-F238E27FC236}">
                  <a16:creationId xmlns:a16="http://schemas.microsoft.com/office/drawing/2014/main" id="{26377B58-F47E-E4D0-1818-47D58541CAAB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7" name="Chord 16">
              <a:extLst>
                <a:ext uri="{FF2B5EF4-FFF2-40B4-BE49-F238E27FC236}">
                  <a16:creationId xmlns:a16="http://schemas.microsoft.com/office/drawing/2014/main" id="{EF1DDBF3-57DD-F669-4BAE-EDD64389A992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98D662-88FE-516B-7290-B301466CF50C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99850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C28233B-55CC-6D73-7FF9-4A451201EB80}"/>
              </a:ext>
            </a:extLst>
          </p:cNvPr>
          <p:cNvSpPr txBox="1"/>
          <p:nvPr userDrawn="1"/>
        </p:nvSpPr>
        <p:spPr>
          <a:xfrm>
            <a:off x="408927" y="6505104"/>
            <a:ext cx="785793" cy="2078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28572"/>
            <a:r>
              <a:rPr lang="en-US" sz="751" err="1">
                <a:solidFill>
                  <a:srgbClr val="000000">
                    <a:lumMod val="65000"/>
                    <a:lumOff val="3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icus.com</a:t>
            </a:r>
            <a:endParaRPr lang="en-US" sz="751">
              <a:solidFill>
                <a:srgbClr val="000000">
                  <a:lumMod val="65000"/>
                  <a:lumOff val="35000"/>
                </a:srgb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1E428F-C172-72DD-8790-53BB80E0E4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439" y="6483799"/>
            <a:ext cx="215763" cy="215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634380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0">
            <a:extLst>
              <a:ext uri="{FF2B5EF4-FFF2-40B4-BE49-F238E27FC236}">
                <a16:creationId xmlns:a16="http://schemas.microsoft.com/office/drawing/2014/main" id="{810BDFDA-EE48-88A2-8966-9DFA17417D2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495967" y="2552010"/>
            <a:ext cx="2670148" cy="267854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B8ADFF3-CB7C-2340-DA65-45BD32B7DA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577" y="2552747"/>
            <a:ext cx="4207483" cy="2543175"/>
          </a:xfrm>
        </p:spPr>
        <p:txBody>
          <a:bodyPr lIns="0" rIns="0" anchor="ctr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  <a:lvl2pPr marL="6351" indent="0">
              <a:buNone/>
              <a:tabLst/>
              <a:defRPr sz="2000">
                <a:solidFill>
                  <a:schemeClr val="accent1"/>
                </a:solidFill>
              </a:defRPr>
            </a:lvl2pPr>
            <a:lvl3pPr marL="6351" indent="0">
              <a:buNone/>
              <a:tabLst/>
              <a:defRPr sz="160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Name</a:t>
            </a:r>
          </a:p>
          <a:p>
            <a:pPr lvl="1"/>
            <a:r>
              <a:rPr lang="en-US"/>
              <a:t>Organization</a:t>
            </a:r>
          </a:p>
          <a:p>
            <a:pPr lvl="2"/>
            <a:r>
              <a:rPr lang="en-US"/>
              <a:t>Tit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8E4E9A05-DAB8-9D59-7FD4-F1C889769EB6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64870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A238F23-507B-3BE1-5E58-529BC1F72C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367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EAD71DD9-030F-E9A0-75F8-AB1F6A89D4D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5367" y="989733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AB1BA26-4469-BF4D-786E-A6CFC7DD30D6}"/>
              </a:ext>
            </a:extLst>
          </p:cNvPr>
          <p:cNvCxnSpPr>
            <a:cxnSpLocks/>
          </p:cNvCxnSpPr>
          <p:nvPr userDrawn="1"/>
        </p:nvCxnSpPr>
        <p:spPr>
          <a:xfrm>
            <a:off x="5258844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9" name="Picture 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E86F2C37-AE58-3FA2-FBDD-FCB6505B09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7" y="6414844"/>
            <a:ext cx="1323511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503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0921E300-150A-3068-6A92-48686570DDC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55349" y="195821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4350" y="4235784"/>
            <a:ext cx="4119477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Name</a:t>
            </a:r>
          </a:p>
          <a:p>
            <a:pPr lvl="1"/>
            <a:r>
              <a:rPr lang="en-US"/>
              <a:t>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BC5667FC-2596-FEE3-5345-88F139CCB81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38653" y="195821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37652" y="4235784"/>
            <a:ext cx="4119477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Name</a:t>
            </a:r>
          </a:p>
          <a:p>
            <a:pPr lvl="1"/>
            <a:r>
              <a:rPr lang="en-US"/>
              <a:t>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367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5367" y="989733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58844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E495B2F-FEC8-0385-0378-276EBC78838F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4" name="Picture 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5220D7E9-22A7-AD59-AAD2-FB1A4AC8D8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092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BC5667FC-2596-FEE3-5345-88F139CCB81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599251" y="195821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B48EC1A1-7D43-BADF-C955-D9D2305CD75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37263" y="195821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6A6A78D-DC10-BEBE-0CDA-6C7833C13A9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88925" y="195821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0476" y="4235785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Name</a:t>
            </a:r>
          </a:p>
          <a:p>
            <a:pPr lvl="1"/>
            <a:r>
              <a:rPr lang="en-US"/>
              <a:t>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5313" y="4235785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Name</a:t>
            </a:r>
          </a:p>
          <a:p>
            <a:pPr lvl="1"/>
            <a:r>
              <a:rPr lang="en-US"/>
              <a:t>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00151" y="4235784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Name</a:t>
            </a:r>
          </a:p>
          <a:p>
            <a:pPr lvl="1"/>
            <a:r>
              <a:rPr lang="en-US"/>
              <a:t>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3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9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50D36E7-90AE-952C-E53A-C84A4D3CF8A8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4" name="Picture 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4EF0E661-6600-79C9-3029-A8C9A12E1D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619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0921E300-150A-3068-6A92-48686570DDC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9280" y="195821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083" y="4235785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Name</a:t>
            </a:r>
          </a:p>
          <a:p>
            <a:pPr lvl="1"/>
            <a:r>
              <a:rPr lang="en-US"/>
              <a:t>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BC5667FC-2596-FEE3-5345-88F139CCB81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850749" y="195821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B48EC1A1-7D43-BADF-C955-D9D2305CD75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52220" y="195821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6A6A78D-DC10-BEBE-0CDA-6C7833C13A9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453691" y="195821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30554" y="4235785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Name</a:t>
            </a:r>
          </a:p>
          <a:p>
            <a:pPr lvl="1"/>
            <a:r>
              <a:rPr lang="en-US"/>
              <a:t>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2023" y="4235785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Name</a:t>
            </a:r>
          </a:p>
          <a:p>
            <a:pPr lvl="1"/>
            <a:r>
              <a:rPr lang="en-US"/>
              <a:t>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3494" y="4235785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Name</a:t>
            </a:r>
          </a:p>
          <a:p>
            <a:pPr lvl="1"/>
            <a:r>
              <a:rPr lang="en-US"/>
              <a:t>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3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9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55E1BF0C-AB7A-5FB2-60CD-DE8C423E3BC9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27" name="Picture 2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92B9F71A-BED9-D2D6-9321-C625684150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846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629"/>
          <a:stretch/>
        </p:blipFill>
        <p:spPr>
          <a:xfrm>
            <a:off x="0" y="0"/>
            <a:ext cx="3953437" cy="6858000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B8ADFF3-CB7C-2340-DA65-45BD32B7DA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578" y="2164794"/>
            <a:ext cx="4351788" cy="2543175"/>
          </a:xfrm>
        </p:spPr>
        <p:txBody>
          <a:bodyPr lIns="0" rIns="0" anchor="ctr">
            <a:normAutofit/>
          </a:bodyPr>
          <a:lstStyle>
            <a:lvl1pPr marL="0" indent="0">
              <a:lnSpc>
                <a:spcPct val="100000"/>
              </a:lnSpc>
              <a:buNone/>
              <a:defRPr sz="3200" b="1" spc="40" baseline="0">
                <a:solidFill>
                  <a:schemeClr val="accent1"/>
                </a:solidFill>
              </a:defRPr>
            </a:lvl1pPr>
            <a:lvl2pPr marL="6351" indent="0">
              <a:lnSpc>
                <a:spcPct val="100000"/>
              </a:lnSpc>
              <a:buNone/>
              <a:tabLst/>
              <a:defRPr sz="2400" spc="40">
                <a:solidFill>
                  <a:schemeClr val="accent1"/>
                </a:solidFill>
              </a:defRPr>
            </a:lvl2pPr>
            <a:lvl3pPr marL="6351" indent="0">
              <a:lnSpc>
                <a:spcPct val="100000"/>
              </a:lnSpc>
              <a:buNone/>
              <a:tabLst/>
              <a:defRPr sz="1800" spc="4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3" y="0"/>
            <a:ext cx="3953437" cy="6858000"/>
          </a:xfrm>
          <a:prstGeom prst="rect">
            <a:avLst/>
          </a:prstGeom>
          <a:solidFill>
            <a:schemeClr val="accent5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2168952" y="1655092"/>
            <a:ext cx="3566160" cy="3566160"/>
          </a:xfrm>
          <a:prstGeom prst="arc">
            <a:avLst>
              <a:gd name="adj1" fmla="val 6896465"/>
              <a:gd name="adj2" fmla="val 8818805"/>
            </a:avLst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02C61BF-C069-0363-B0D2-DAA6898F7DC8}"/>
              </a:ext>
            </a:extLst>
          </p:cNvPr>
          <p:cNvSpPr>
            <a:spLocks noChangeAspect="1"/>
          </p:cNvSpPr>
          <p:nvPr userDrawn="1"/>
        </p:nvSpPr>
        <p:spPr>
          <a:xfrm>
            <a:off x="2449655" y="1955899"/>
            <a:ext cx="2971800" cy="29718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6E5DF571-44A5-A36E-77C0-B0517DF656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71315" y="2173585"/>
            <a:ext cx="2528479" cy="253643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Arc 17">
            <a:extLst>
              <a:ext uri="{FF2B5EF4-FFF2-40B4-BE49-F238E27FC236}">
                <a16:creationId xmlns:a16="http://schemas.microsoft.com/office/drawing/2014/main" id="{C5E26A47-661A-77D8-1206-E7E0EFB71F49}"/>
              </a:ext>
            </a:extLst>
          </p:cNvPr>
          <p:cNvSpPr/>
          <p:nvPr userDrawn="1"/>
        </p:nvSpPr>
        <p:spPr>
          <a:xfrm>
            <a:off x="2247781" y="1734204"/>
            <a:ext cx="3408219" cy="3408219"/>
          </a:xfrm>
          <a:prstGeom prst="arc">
            <a:avLst>
              <a:gd name="adj1" fmla="val 16195710"/>
              <a:gd name="adj2" fmla="val 19139618"/>
            </a:avLst>
          </a:prstGeom>
          <a:ln w="38100">
            <a:solidFill>
              <a:schemeClr val="accent5">
                <a:alpha val="7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F8F06EE1-90EC-7EA3-C759-84EE4D6E2330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2678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4992">
          <p15:clr>
            <a:srgbClr val="FBAE4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0921E300-150A-3068-6A92-48686570DDC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84027" y="2127769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4350" y="4235784"/>
            <a:ext cx="4119477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37652" y="4235784"/>
            <a:ext cx="4119477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3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9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Arc 2">
            <a:extLst>
              <a:ext uri="{FF2B5EF4-FFF2-40B4-BE49-F238E27FC236}">
                <a16:creationId xmlns:a16="http://schemas.microsoft.com/office/drawing/2014/main" id="{EA8FEC01-A47C-0769-0F0A-45EB5812A7F9}"/>
              </a:ext>
            </a:extLst>
          </p:cNvPr>
          <p:cNvSpPr/>
          <p:nvPr userDrawn="1"/>
        </p:nvSpPr>
        <p:spPr>
          <a:xfrm>
            <a:off x="2367318" y="191375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D9DD3650-AB75-F631-B1DE-B6F1D86C5C07}"/>
              </a:ext>
            </a:extLst>
          </p:cNvPr>
          <p:cNvSpPr/>
          <p:nvPr userDrawn="1"/>
        </p:nvSpPr>
        <p:spPr>
          <a:xfrm>
            <a:off x="2367318" y="191375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A6DF1E54-F4A1-E83F-8FBA-19DDE5AAC86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890500" y="2127769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248BFC27-9417-BC11-7243-27892505071D}"/>
              </a:ext>
            </a:extLst>
          </p:cNvPr>
          <p:cNvSpPr/>
          <p:nvPr userDrawn="1"/>
        </p:nvSpPr>
        <p:spPr>
          <a:xfrm>
            <a:off x="7673791" y="191375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8" name="Arc 7">
            <a:extLst>
              <a:ext uri="{FF2B5EF4-FFF2-40B4-BE49-F238E27FC236}">
                <a16:creationId xmlns:a16="http://schemas.microsoft.com/office/drawing/2014/main" id="{6F8AD76B-4766-500E-E593-975A7F1AACB1}"/>
              </a:ext>
            </a:extLst>
          </p:cNvPr>
          <p:cNvSpPr/>
          <p:nvPr userDrawn="1"/>
        </p:nvSpPr>
        <p:spPr>
          <a:xfrm>
            <a:off x="7673791" y="191375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AE7797B-2D53-2743-D8B1-C47E14A7124C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9" name="Picture 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DFD8DDF1-7740-FB7C-A212-71541271E9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4508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0476" y="4235785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5313" y="4235785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00151" y="4235784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3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9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865EFAE0-675D-E4C9-D033-8A31F875BA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99251" y="2019869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3" name="Arc 2">
            <a:extLst>
              <a:ext uri="{FF2B5EF4-FFF2-40B4-BE49-F238E27FC236}">
                <a16:creationId xmlns:a16="http://schemas.microsoft.com/office/drawing/2014/main" id="{7845045A-9483-5D3B-15A3-4CF7F6C7FA6E}"/>
              </a:ext>
            </a:extLst>
          </p:cNvPr>
          <p:cNvSpPr/>
          <p:nvPr userDrawn="1"/>
        </p:nvSpPr>
        <p:spPr>
          <a:xfrm>
            <a:off x="1382542" y="180585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21F4F86A-84AA-A12E-2D21-A90F5EE6C440}"/>
              </a:ext>
            </a:extLst>
          </p:cNvPr>
          <p:cNvSpPr/>
          <p:nvPr userDrawn="1"/>
        </p:nvSpPr>
        <p:spPr>
          <a:xfrm>
            <a:off x="1382542" y="180585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2355948A-074D-0627-025D-E49F0D47260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244088" y="2019869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72BB7351-96C7-2250-6CBB-28EBF85083B0}"/>
              </a:ext>
            </a:extLst>
          </p:cNvPr>
          <p:cNvSpPr/>
          <p:nvPr userDrawn="1"/>
        </p:nvSpPr>
        <p:spPr>
          <a:xfrm>
            <a:off x="5027379" y="180585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D47057DB-80B0-654D-90EE-BB897C8F3FA9}"/>
              </a:ext>
            </a:extLst>
          </p:cNvPr>
          <p:cNvSpPr/>
          <p:nvPr userDrawn="1"/>
        </p:nvSpPr>
        <p:spPr>
          <a:xfrm>
            <a:off x="5027379" y="180585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4A3248EA-BA76-20C7-B18E-B6A2B03F94D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888925" y="2019869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DF9EF6AA-BCCF-16BA-1338-495BC4F6C617}"/>
              </a:ext>
            </a:extLst>
          </p:cNvPr>
          <p:cNvSpPr/>
          <p:nvPr userDrawn="1"/>
        </p:nvSpPr>
        <p:spPr>
          <a:xfrm>
            <a:off x="8672217" y="180585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8" name="Arc 17">
            <a:extLst>
              <a:ext uri="{FF2B5EF4-FFF2-40B4-BE49-F238E27FC236}">
                <a16:creationId xmlns:a16="http://schemas.microsoft.com/office/drawing/2014/main" id="{4CF23B48-93C8-82C3-A456-6039B56FA1D5}"/>
              </a:ext>
            </a:extLst>
          </p:cNvPr>
          <p:cNvSpPr/>
          <p:nvPr userDrawn="1"/>
        </p:nvSpPr>
        <p:spPr>
          <a:xfrm>
            <a:off x="8672217" y="180585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0FD37A03-0C39-8E9A-4825-4A306F37B225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23" name="Picture 22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31B4EA73-C20E-74D1-F3F3-4CC65CDAF5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306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lock Arc 18">
            <a:extLst>
              <a:ext uri="{FF2B5EF4-FFF2-40B4-BE49-F238E27FC236}">
                <a16:creationId xmlns:a16="http://schemas.microsoft.com/office/drawing/2014/main" id="{6122E3AB-2C8D-5A6E-75D8-A06F1AE002C8}"/>
              </a:ext>
            </a:extLst>
          </p:cNvPr>
          <p:cNvSpPr/>
          <p:nvPr/>
        </p:nvSpPr>
        <p:spPr>
          <a:xfrm>
            <a:off x="6636579" y="783623"/>
            <a:ext cx="5313683" cy="5313683"/>
          </a:xfrm>
          <a:prstGeom prst="blockArc">
            <a:avLst>
              <a:gd name="adj1" fmla="val 13683030"/>
              <a:gd name="adj2" fmla="val 6279444"/>
              <a:gd name="adj3" fmla="val 12795"/>
            </a:avLst>
          </a:prstGeom>
          <a:solidFill>
            <a:schemeClr val="accent5">
              <a:alpha val="9298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18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4" name="Picture Placeholder 10">
            <a:extLst>
              <a:ext uri="{FF2B5EF4-FFF2-40B4-BE49-F238E27FC236}">
                <a16:creationId xmlns:a16="http://schemas.microsoft.com/office/drawing/2014/main" id="{E1C5DE5F-480E-BAED-0FCF-F228673A2F9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765291" y="1911209"/>
            <a:ext cx="3056258" cy="3058511"/>
          </a:xfrm>
          <a:prstGeom prst="ellipse">
            <a:avLst/>
          </a:prstGeom>
          <a:solidFill>
            <a:schemeClr val="bg1"/>
          </a:solidFill>
          <a:ln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5BC3A7C-BCFD-B750-7D0B-772549B1C7A6}"/>
              </a:ext>
            </a:extLst>
          </p:cNvPr>
          <p:cNvGrpSpPr/>
          <p:nvPr userDrawn="1"/>
        </p:nvGrpSpPr>
        <p:grpSpPr>
          <a:xfrm rot="10800000">
            <a:off x="-122570" y="5165510"/>
            <a:ext cx="6709295" cy="6709295"/>
            <a:chOff x="105150" y="-3122465"/>
            <a:chExt cx="5720108" cy="5720108"/>
          </a:xfrm>
        </p:grpSpPr>
        <p:sp>
          <p:nvSpPr>
            <p:cNvPr id="12" name="Chord 11">
              <a:extLst>
                <a:ext uri="{FF2B5EF4-FFF2-40B4-BE49-F238E27FC236}">
                  <a16:creationId xmlns:a16="http://schemas.microsoft.com/office/drawing/2014/main" id="{B6B36A70-6BBD-CDF2-9148-1821145FB7A1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776102"/>
                <a:gd name="adj2" fmla="val 9068291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6" name="Chord 15">
              <a:extLst>
                <a:ext uri="{FF2B5EF4-FFF2-40B4-BE49-F238E27FC236}">
                  <a16:creationId xmlns:a16="http://schemas.microsoft.com/office/drawing/2014/main" id="{F4F61740-57BE-7A2A-1EBA-F6B143259B55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208207"/>
                <a:gd name="adj2" fmla="val 8625623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7" name="Chord 16">
              <a:extLst>
                <a:ext uri="{FF2B5EF4-FFF2-40B4-BE49-F238E27FC236}">
                  <a16:creationId xmlns:a16="http://schemas.microsoft.com/office/drawing/2014/main" id="{0B4408C5-6A2E-BDCE-74DE-31BB25DE0B20}"/>
                </a:ext>
              </a:extLst>
            </p:cNvPr>
            <p:cNvSpPr/>
            <p:nvPr userDrawn="1"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3199219"/>
                <a:gd name="adj2" fmla="val 7682029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8" name="Block Arc 7">
            <a:extLst>
              <a:ext uri="{FF2B5EF4-FFF2-40B4-BE49-F238E27FC236}">
                <a16:creationId xmlns:a16="http://schemas.microsoft.com/office/drawing/2014/main" id="{07843137-6D2D-3316-D540-E3B7E8D99084}"/>
              </a:ext>
            </a:extLst>
          </p:cNvPr>
          <p:cNvSpPr/>
          <p:nvPr userDrawn="1"/>
        </p:nvSpPr>
        <p:spPr>
          <a:xfrm>
            <a:off x="7321624" y="1468668"/>
            <a:ext cx="3943593" cy="3943593"/>
          </a:xfrm>
          <a:prstGeom prst="blockArc">
            <a:avLst>
              <a:gd name="adj1" fmla="val 3383882"/>
              <a:gd name="adj2" fmla="val 18072909"/>
              <a:gd name="adj3" fmla="val 11695"/>
            </a:avLst>
          </a:prstGeom>
          <a:solidFill>
            <a:schemeClr val="accent5">
              <a:alpha val="2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18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E140218-0874-3F8A-F091-5A13A83C8E2E}"/>
              </a:ext>
            </a:extLst>
          </p:cNvPr>
          <p:cNvSpPr/>
          <p:nvPr userDrawn="1"/>
        </p:nvSpPr>
        <p:spPr>
          <a:xfrm>
            <a:off x="624263" y="3751217"/>
            <a:ext cx="1512396" cy="73152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047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9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CC7DEC85-5923-41A1-1292-CA2E72A837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4056" y="4027685"/>
            <a:ext cx="6261215" cy="429635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20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D688B5A-D9B6-4A39-56C7-2FD8B473BF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4425" y="2013036"/>
            <a:ext cx="6321588" cy="1606653"/>
          </a:xfrm>
        </p:spPr>
        <p:txBody>
          <a:bodyPr lIns="0" rIns="0" anchor="b">
            <a:noAutofit/>
          </a:bodyPr>
          <a:lstStyle>
            <a:lvl1pPr algn="l">
              <a:defRPr sz="3600" b="1" spc="3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Main Presentation Header Goes Here</a:t>
            </a:r>
          </a:p>
        </p:txBody>
      </p:sp>
      <p:pic>
        <p:nvPicPr>
          <p:cNvPr id="15" name="Picture 14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2819166B-2CBF-5D4B-2801-B0609BFF01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400" y="1191703"/>
            <a:ext cx="2574333" cy="533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792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88">
          <p15:clr>
            <a:srgbClr val="FBAE40"/>
          </p15:clr>
        </p15:guide>
        <p15:guide id="4" pos="729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F597556C-921F-8A86-4312-95EAE44E731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4087" y="1907259"/>
            <a:ext cx="5319513" cy="4354993"/>
          </a:xfrm>
        </p:spPr>
        <p:txBody>
          <a:bodyPr lIns="0" rIns="0"/>
          <a:lstStyle>
            <a:lvl1pPr marL="0" indent="0">
              <a:buNone/>
              <a:defRPr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C5E39A7-32B5-A4CA-7EB6-0CF0F105FF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366" y="312132"/>
            <a:ext cx="5318234" cy="480131"/>
          </a:xfrm>
        </p:spPr>
        <p:txBody>
          <a:bodyPr wrap="square" lIns="0" rIns="0" anchor="b">
            <a:sp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BF1C4B2-7895-8661-D5BA-28609D34E2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5366" y="989732"/>
            <a:ext cx="5318234" cy="369332"/>
          </a:xfrm>
        </p:spPr>
        <p:txBody>
          <a:bodyPr wrap="square" lIns="0" rIns="0">
            <a:spAutoFit/>
          </a:bodyPr>
          <a:lstStyle>
            <a:lvl1pPr marL="0" indent="0" algn="l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C6EDF7-A28E-CA58-E0DE-30C4A8CF1043}"/>
              </a:ext>
            </a:extLst>
          </p:cNvPr>
          <p:cNvCxnSpPr>
            <a:cxnSpLocks/>
          </p:cNvCxnSpPr>
          <p:nvPr userDrawn="1"/>
        </p:nvCxnSpPr>
        <p:spPr>
          <a:xfrm>
            <a:off x="625366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9" name="Picture 1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490E5B3-7867-69E6-A4BD-CCC34DDB07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22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744">
          <p15:clr>
            <a:srgbClr val="FBAE40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083" y="4235785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30554" y="4235785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2023" y="4235785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3494" y="4235785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3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9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916B36FD-E9C7-0EB7-4644-B045FADB85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9280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4ED6FD4A-B9F9-0837-DB72-5C770519EEF2}"/>
              </a:ext>
            </a:extLst>
          </p:cNvPr>
          <p:cNvSpPr/>
          <p:nvPr userDrawn="1"/>
        </p:nvSpPr>
        <p:spPr>
          <a:xfrm>
            <a:off x="832571" y="1817945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3879B161-1AE2-FADA-334A-EFF2705442B2}"/>
              </a:ext>
            </a:extLst>
          </p:cNvPr>
          <p:cNvSpPr/>
          <p:nvPr userDrawn="1"/>
        </p:nvSpPr>
        <p:spPr>
          <a:xfrm>
            <a:off x="832571" y="1817945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7328D67A-6990-6860-7D63-8EBD5F23BAC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50749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2ED2785D-F10D-C3F1-CD79-DDF830F565C7}"/>
              </a:ext>
            </a:extLst>
          </p:cNvPr>
          <p:cNvSpPr/>
          <p:nvPr userDrawn="1"/>
        </p:nvSpPr>
        <p:spPr>
          <a:xfrm>
            <a:off x="3634042" y="1817945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D57C4C20-7530-E470-7383-AE41F046A1D7}"/>
              </a:ext>
            </a:extLst>
          </p:cNvPr>
          <p:cNvSpPr/>
          <p:nvPr userDrawn="1"/>
        </p:nvSpPr>
        <p:spPr>
          <a:xfrm>
            <a:off x="3634042" y="1817945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D32EAB26-5370-6E5A-64B1-4E63CC98E0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52220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C0AD66CC-EC9B-A4CD-A7B9-42ED1646CB6C}"/>
              </a:ext>
            </a:extLst>
          </p:cNvPr>
          <p:cNvSpPr/>
          <p:nvPr userDrawn="1"/>
        </p:nvSpPr>
        <p:spPr>
          <a:xfrm>
            <a:off x="6435511" y="1817945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3" name="Arc 22">
            <a:extLst>
              <a:ext uri="{FF2B5EF4-FFF2-40B4-BE49-F238E27FC236}">
                <a16:creationId xmlns:a16="http://schemas.microsoft.com/office/drawing/2014/main" id="{6E724543-4743-391D-133C-C13841B63EA8}"/>
              </a:ext>
            </a:extLst>
          </p:cNvPr>
          <p:cNvSpPr/>
          <p:nvPr userDrawn="1"/>
        </p:nvSpPr>
        <p:spPr>
          <a:xfrm>
            <a:off x="6435511" y="1817945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A422CF18-5A3F-9CEA-0302-225E0F8673C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453691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5" name="Arc 24">
            <a:extLst>
              <a:ext uri="{FF2B5EF4-FFF2-40B4-BE49-F238E27FC236}">
                <a16:creationId xmlns:a16="http://schemas.microsoft.com/office/drawing/2014/main" id="{77D2335B-E767-A773-6A8A-16A2CC76473A}"/>
              </a:ext>
            </a:extLst>
          </p:cNvPr>
          <p:cNvSpPr/>
          <p:nvPr userDrawn="1"/>
        </p:nvSpPr>
        <p:spPr>
          <a:xfrm>
            <a:off x="9236982" y="1817945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6" name="Arc 25">
            <a:extLst>
              <a:ext uri="{FF2B5EF4-FFF2-40B4-BE49-F238E27FC236}">
                <a16:creationId xmlns:a16="http://schemas.microsoft.com/office/drawing/2014/main" id="{4232EF04-DFEA-B19B-2994-47F6D5F805CF}"/>
              </a:ext>
            </a:extLst>
          </p:cNvPr>
          <p:cNvSpPr/>
          <p:nvPr userDrawn="1"/>
        </p:nvSpPr>
        <p:spPr>
          <a:xfrm>
            <a:off x="9236982" y="1817945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DB18C11A-0BED-0028-13BD-7C1EE0E0DCC4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28" name="Picture 2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A9F90631-A342-0DF5-9F46-F9119EB381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4916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629"/>
          <a:stretch/>
        </p:blipFill>
        <p:spPr>
          <a:xfrm>
            <a:off x="0" y="0"/>
            <a:ext cx="3953437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3" y="0"/>
            <a:ext cx="3953437" cy="6858000"/>
          </a:xfrm>
          <a:prstGeom prst="rect">
            <a:avLst/>
          </a:prstGeom>
          <a:solidFill>
            <a:schemeClr val="accent3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04211FC1-A1D3-9CB4-C1BB-A6B6AB173BB1}"/>
              </a:ext>
            </a:extLst>
          </p:cNvPr>
          <p:cNvSpPr>
            <a:spLocks noChangeAspect="1"/>
          </p:cNvSpPr>
          <p:nvPr userDrawn="1"/>
        </p:nvSpPr>
        <p:spPr>
          <a:xfrm>
            <a:off x="2449655" y="1955899"/>
            <a:ext cx="2971800" cy="29718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0" name="Picture Placeholder 10">
            <a:extLst>
              <a:ext uri="{FF2B5EF4-FFF2-40B4-BE49-F238E27FC236}">
                <a16:creationId xmlns:a16="http://schemas.microsoft.com/office/drawing/2014/main" id="{810BDFDA-EE48-88A2-8966-9DFA17417D2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71315" y="2173585"/>
            <a:ext cx="2528479" cy="253643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2168952" y="1655092"/>
            <a:ext cx="3566160" cy="3566160"/>
          </a:xfrm>
          <a:prstGeom prst="arc">
            <a:avLst>
              <a:gd name="adj1" fmla="val 6896465"/>
              <a:gd name="adj2" fmla="val 8818805"/>
            </a:avLst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" name="Arc 2">
            <a:extLst>
              <a:ext uri="{FF2B5EF4-FFF2-40B4-BE49-F238E27FC236}">
                <a16:creationId xmlns:a16="http://schemas.microsoft.com/office/drawing/2014/main" id="{8C8FF18D-29A5-1F5D-7963-9FDA4BC66886}"/>
              </a:ext>
            </a:extLst>
          </p:cNvPr>
          <p:cNvSpPr/>
          <p:nvPr userDrawn="1"/>
        </p:nvSpPr>
        <p:spPr>
          <a:xfrm>
            <a:off x="2247781" y="1734204"/>
            <a:ext cx="3408219" cy="3408219"/>
          </a:xfrm>
          <a:prstGeom prst="arc">
            <a:avLst>
              <a:gd name="adj1" fmla="val 16195710"/>
              <a:gd name="adj2" fmla="val 19139618"/>
            </a:avLst>
          </a:prstGeom>
          <a:ln w="38100">
            <a:solidFill>
              <a:schemeClr val="accent3">
                <a:alpha val="7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08ADA7B-80D4-677E-C859-DE8FB09DAA4E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51D0599B-9F14-59F6-48C2-398747F4A8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578" y="2164794"/>
            <a:ext cx="4351788" cy="2543175"/>
          </a:xfrm>
        </p:spPr>
        <p:txBody>
          <a:bodyPr lIns="0" rIns="0" anchor="ctr">
            <a:normAutofit/>
          </a:bodyPr>
          <a:lstStyle>
            <a:lvl1pPr marL="0" indent="0">
              <a:lnSpc>
                <a:spcPct val="100000"/>
              </a:lnSpc>
              <a:buNone/>
              <a:defRPr sz="3200" b="1" spc="40" baseline="0">
                <a:solidFill>
                  <a:schemeClr val="accent1"/>
                </a:solidFill>
              </a:defRPr>
            </a:lvl1pPr>
            <a:lvl2pPr marL="6351" indent="0">
              <a:lnSpc>
                <a:spcPct val="100000"/>
              </a:lnSpc>
              <a:buNone/>
              <a:tabLst/>
              <a:defRPr sz="2400" spc="40">
                <a:solidFill>
                  <a:schemeClr val="accent1"/>
                </a:solidFill>
              </a:defRPr>
            </a:lvl2pPr>
            <a:lvl3pPr marL="6351" indent="0">
              <a:lnSpc>
                <a:spcPct val="100000"/>
              </a:lnSpc>
              <a:buNone/>
              <a:tabLst/>
              <a:defRPr sz="1800" spc="4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</p:spTree>
    <p:extLst>
      <p:ext uri="{BB962C8B-B14F-4D97-AF65-F5344CB8AC3E}">
        <p14:creationId xmlns:p14="http://schemas.microsoft.com/office/powerpoint/2010/main" val="818088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4992">
          <p15:clr>
            <a:srgbClr val="FBAE40"/>
          </p15:clr>
        </p15:guide>
      </p15:sldGuideLst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0921E300-150A-3068-6A92-48686570DDC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84027" y="2127769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4350" y="4235784"/>
            <a:ext cx="4119477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37652" y="4235784"/>
            <a:ext cx="4119477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3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9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Arc 2">
            <a:extLst>
              <a:ext uri="{FF2B5EF4-FFF2-40B4-BE49-F238E27FC236}">
                <a16:creationId xmlns:a16="http://schemas.microsoft.com/office/drawing/2014/main" id="{EA8FEC01-A47C-0769-0F0A-45EB5812A7F9}"/>
              </a:ext>
            </a:extLst>
          </p:cNvPr>
          <p:cNvSpPr/>
          <p:nvPr userDrawn="1"/>
        </p:nvSpPr>
        <p:spPr>
          <a:xfrm>
            <a:off x="2367318" y="191375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D9DD3650-AB75-F631-B1DE-B6F1D86C5C07}"/>
              </a:ext>
            </a:extLst>
          </p:cNvPr>
          <p:cNvSpPr/>
          <p:nvPr userDrawn="1"/>
        </p:nvSpPr>
        <p:spPr>
          <a:xfrm>
            <a:off x="2367318" y="191375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A6DF1E54-F4A1-E83F-8FBA-19DDE5AAC86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890500" y="2127769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248BFC27-9417-BC11-7243-27892505071D}"/>
              </a:ext>
            </a:extLst>
          </p:cNvPr>
          <p:cNvSpPr/>
          <p:nvPr userDrawn="1"/>
        </p:nvSpPr>
        <p:spPr>
          <a:xfrm>
            <a:off x="7673791" y="191375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8" name="Arc 7">
            <a:extLst>
              <a:ext uri="{FF2B5EF4-FFF2-40B4-BE49-F238E27FC236}">
                <a16:creationId xmlns:a16="http://schemas.microsoft.com/office/drawing/2014/main" id="{6F8AD76B-4766-500E-E593-975A7F1AACB1}"/>
              </a:ext>
            </a:extLst>
          </p:cNvPr>
          <p:cNvSpPr/>
          <p:nvPr userDrawn="1"/>
        </p:nvSpPr>
        <p:spPr>
          <a:xfrm>
            <a:off x="7673791" y="191375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43B80AE-D1C2-71D5-4464-5BBC7A4E316C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9" name="Picture 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AC846A85-7E88-92EA-8EEC-E82D4A8899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086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0476" y="4235785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5313" y="4235785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00151" y="4235784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3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9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865EFAE0-675D-E4C9-D033-8A31F875BA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99251" y="2019869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3" name="Arc 2">
            <a:extLst>
              <a:ext uri="{FF2B5EF4-FFF2-40B4-BE49-F238E27FC236}">
                <a16:creationId xmlns:a16="http://schemas.microsoft.com/office/drawing/2014/main" id="{7845045A-9483-5D3B-15A3-4CF7F6C7FA6E}"/>
              </a:ext>
            </a:extLst>
          </p:cNvPr>
          <p:cNvSpPr/>
          <p:nvPr userDrawn="1"/>
        </p:nvSpPr>
        <p:spPr>
          <a:xfrm>
            <a:off x="1382542" y="180585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21F4F86A-84AA-A12E-2D21-A90F5EE6C440}"/>
              </a:ext>
            </a:extLst>
          </p:cNvPr>
          <p:cNvSpPr/>
          <p:nvPr userDrawn="1"/>
        </p:nvSpPr>
        <p:spPr>
          <a:xfrm>
            <a:off x="1382542" y="180585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2355948A-074D-0627-025D-E49F0D47260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244088" y="2019869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72BB7351-96C7-2250-6CBB-28EBF85083B0}"/>
              </a:ext>
            </a:extLst>
          </p:cNvPr>
          <p:cNvSpPr/>
          <p:nvPr userDrawn="1"/>
        </p:nvSpPr>
        <p:spPr>
          <a:xfrm>
            <a:off x="5027379" y="180585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D47057DB-80B0-654D-90EE-BB897C8F3FA9}"/>
              </a:ext>
            </a:extLst>
          </p:cNvPr>
          <p:cNvSpPr/>
          <p:nvPr userDrawn="1"/>
        </p:nvSpPr>
        <p:spPr>
          <a:xfrm>
            <a:off x="5027379" y="180585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4A3248EA-BA76-20C7-B18E-B6A2B03F94D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888925" y="2019869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DF9EF6AA-BCCF-16BA-1338-495BC4F6C617}"/>
              </a:ext>
            </a:extLst>
          </p:cNvPr>
          <p:cNvSpPr/>
          <p:nvPr userDrawn="1"/>
        </p:nvSpPr>
        <p:spPr>
          <a:xfrm>
            <a:off x="8672217" y="180585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8" name="Arc 17">
            <a:extLst>
              <a:ext uri="{FF2B5EF4-FFF2-40B4-BE49-F238E27FC236}">
                <a16:creationId xmlns:a16="http://schemas.microsoft.com/office/drawing/2014/main" id="{4CF23B48-93C8-82C3-A456-6039B56FA1D5}"/>
              </a:ext>
            </a:extLst>
          </p:cNvPr>
          <p:cNvSpPr/>
          <p:nvPr userDrawn="1"/>
        </p:nvSpPr>
        <p:spPr>
          <a:xfrm>
            <a:off x="8672217" y="180585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A205796-911D-42D3-2DCA-D2ED160A36CD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F56534ED-7B7F-221B-EC02-5FDF4004BA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582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083" y="4235785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30554" y="4235785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2023" y="4235785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3494" y="4235785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3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9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916B36FD-E9C7-0EB7-4644-B045FADB85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9280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4ED6FD4A-B9F9-0837-DB72-5C770519EEF2}"/>
              </a:ext>
            </a:extLst>
          </p:cNvPr>
          <p:cNvSpPr/>
          <p:nvPr userDrawn="1"/>
        </p:nvSpPr>
        <p:spPr>
          <a:xfrm>
            <a:off x="832571" y="1817945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3879B161-1AE2-FADA-334A-EFF2705442B2}"/>
              </a:ext>
            </a:extLst>
          </p:cNvPr>
          <p:cNvSpPr/>
          <p:nvPr userDrawn="1"/>
        </p:nvSpPr>
        <p:spPr>
          <a:xfrm>
            <a:off x="832571" y="1817945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7328D67A-6990-6860-7D63-8EBD5F23BAC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50749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2ED2785D-F10D-C3F1-CD79-DDF830F565C7}"/>
              </a:ext>
            </a:extLst>
          </p:cNvPr>
          <p:cNvSpPr/>
          <p:nvPr userDrawn="1"/>
        </p:nvSpPr>
        <p:spPr>
          <a:xfrm>
            <a:off x="3634042" y="1817945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D57C4C20-7530-E470-7383-AE41F046A1D7}"/>
              </a:ext>
            </a:extLst>
          </p:cNvPr>
          <p:cNvSpPr/>
          <p:nvPr userDrawn="1"/>
        </p:nvSpPr>
        <p:spPr>
          <a:xfrm>
            <a:off x="3634042" y="1817945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D32EAB26-5370-6E5A-64B1-4E63CC98E0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52220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C0AD66CC-EC9B-A4CD-A7B9-42ED1646CB6C}"/>
              </a:ext>
            </a:extLst>
          </p:cNvPr>
          <p:cNvSpPr/>
          <p:nvPr userDrawn="1"/>
        </p:nvSpPr>
        <p:spPr>
          <a:xfrm>
            <a:off x="6435511" y="1817945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3" name="Arc 22">
            <a:extLst>
              <a:ext uri="{FF2B5EF4-FFF2-40B4-BE49-F238E27FC236}">
                <a16:creationId xmlns:a16="http://schemas.microsoft.com/office/drawing/2014/main" id="{6E724543-4743-391D-133C-C13841B63EA8}"/>
              </a:ext>
            </a:extLst>
          </p:cNvPr>
          <p:cNvSpPr/>
          <p:nvPr userDrawn="1"/>
        </p:nvSpPr>
        <p:spPr>
          <a:xfrm>
            <a:off x="6435511" y="1817945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A422CF18-5A3F-9CEA-0302-225E0F8673C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453691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5" name="Arc 24">
            <a:extLst>
              <a:ext uri="{FF2B5EF4-FFF2-40B4-BE49-F238E27FC236}">
                <a16:creationId xmlns:a16="http://schemas.microsoft.com/office/drawing/2014/main" id="{77D2335B-E767-A773-6A8A-16A2CC76473A}"/>
              </a:ext>
            </a:extLst>
          </p:cNvPr>
          <p:cNvSpPr/>
          <p:nvPr userDrawn="1"/>
        </p:nvSpPr>
        <p:spPr>
          <a:xfrm>
            <a:off x="9236982" y="1817945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6" name="Arc 25">
            <a:extLst>
              <a:ext uri="{FF2B5EF4-FFF2-40B4-BE49-F238E27FC236}">
                <a16:creationId xmlns:a16="http://schemas.microsoft.com/office/drawing/2014/main" id="{4232EF04-DFEA-B19B-2994-47F6D5F805CF}"/>
              </a:ext>
            </a:extLst>
          </p:cNvPr>
          <p:cNvSpPr/>
          <p:nvPr userDrawn="1"/>
        </p:nvSpPr>
        <p:spPr>
          <a:xfrm>
            <a:off x="9236982" y="1817945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4BECF39-AEC7-190C-DCFF-404879FB2D42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26CF2825-01B8-E296-3BF9-CE9648CD87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732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629"/>
          <a:stretch/>
        </p:blipFill>
        <p:spPr>
          <a:xfrm>
            <a:off x="0" y="0"/>
            <a:ext cx="3953437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3" y="0"/>
            <a:ext cx="3953437" cy="6858000"/>
          </a:xfrm>
          <a:prstGeom prst="rect">
            <a:avLst/>
          </a:prstGeom>
          <a:solidFill>
            <a:schemeClr val="accent4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2168952" y="1655092"/>
            <a:ext cx="3566160" cy="3566160"/>
          </a:xfrm>
          <a:prstGeom prst="arc">
            <a:avLst>
              <a:gd name="adj1" fmla="val 6896465"/>
              <a:gd name="adj2" fmla="val 8818805"/>
            </a:avLst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A5158757-180A-27F0-F391-4AF4A52DD295}"/>
              </a:ext>
            </a:extLst>
          </p:cNvPr>
          <p:cNvSpPr>
            <a:spLocks noChangeAspect="1"/>
          </p:cNvSpPr>
          <p:nvPr userDrawn="1"/>
        </p:nvSpPr>
        <p:spPr>
          <a:xfrm>
            <a:off x="2449655" y="1955899"/>
            <a:ext cx="2971800" cy="29718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D3223CE2-BE96-BA32-BC41-72D7C8E35C4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71315" y="2173585"/>
            <a:ext cx="2528479" cy="253643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AD2AA2F8-DEF1-2E59-2A2C-DA7228240DFD}"/>
              </a:ext>
            </a:extLst>
          </p:cNvPr>
          <p:cNvSpPr/>
          <p:nvPr userDrawn="1"/>
        </p:nvSpPr>
        <p:spPr>
          <a:xfrm>
            <a:off x="2247781" y="1734204"/>
            <a:ext cx="3408219" cy="3408219"/>
          </a:xfrm>
          <a:prstGeom prst="arc">
            <a:avLst>
              <a:gd name="adj1" fmla="val 16195710"/>
              <a:gd name="adj2" fmla="val 19139618"/>
            </a:avLst>
          </a:prstGeom>
          <a:ln w="38100">
            <a:solidFill>
              <a:schemeClr val="accent4">
                <a:alpha val="7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F339642-4EBF-39A8-1E9D-74A6E5C296FD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F19CFD58-C58F-6313-C173-CDD5F51E2F0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578" y="2164794"/>
            <a:ext cx="4351788" cy="2543175"/>
          </a:xfrm>
        </p:spPr>
        <p:txBody>
          <a:bodyPr lIns="0" rIns="0" anchor="ctr">
            <a:normAutofit/>
          </a:bodyPr>
          <a:lstStyle>
            <a:lvl1pPr marL="0" indent="0">
              <a:lnSpc>
                <a:spcPct val="100000"/>
              </a:lnSpc>
              <a:buNone/>
              <a:defRPr sz="3200" b="1" spc="40" baseline="0">
                <a:solidFill>
                  <a:schemeClr val="accent1"/>
                </a:solidFill>
              </a:defRPr>
            </a:lvl1pPr>
            <a:lvl2pPr marL="6351" indent="0">
              <a:lnSpc>
                <a:spcPct val="100000"/>
              </a:lnSpc>
              <a:buNone/>
              <a:tabLst/>
              <a:defRPr sz="2400" spc="40">
                <a:solidFill>
                  <a:schemeClr val="accent1"/>
                </a:solidFill>
              </a:defRPr>
            </a:lvl2pPr>
            <a:lvl3pPr marL="6351" indent="0">
              <a:lnSpc>
                <a:spcPct val="100000"/>
              </a:lnSpc>
              <a:buNone/>
              <a:tabLst/>
              <a:defRPr sz="1800" spc="4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</p:spTree>
    <p:extLst>
      <p:ext uri="{BB962C8B-B14F-4D97-AF65-F5344CB8AC3E}">
        <p14:creationId xmlns:p14="http://schemas.microsoft.com/office/powerpoint/2010/main" val="1345423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4992">
          <p15:clr>
            <a:srgbClr val="FBAE40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0921E300-150A-3068-6A92-48686570DDC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84027" y="2127769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4350" y="4235784"/>
            <a:ext cx="4119477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37652" y="4235784"/>
            <a:ext cx="4119477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3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9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Arc 2">
            <a:extLst>
              <a:ext uri="{FF2B5EF4-FFF2-40B4-BE49-F238E27FC236}">
                <a16:creationId xmlns:a16="http://schemas.microsoft.com/office/drawing/2014/main" id="{EA8FEC01-A47C-0769-0F0A-45EB5812A7F9}"/>
              </a:ext>
            </a:extLst>
          </p:cNvPr>
          <p:cNvSpPr/>
          <p:nvPr userDrawn="1"/>
        </p:nvSpPr>
        <p:spPr>
          <a:xfrm>
            <a:off x="2367318" y="191375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D9DD3650-AB75-F631-B1DE-B6F1D86C5C07}"/>
              </a:ext>
            </a:extLst>
          </p:cNvPr>
          <p:cNvSpPr/>
          <p:nvPr userDrawn="1"/>
        </p:nvSpPr>
        <p:spPr>
          <a:xfrm>
            <a:off x="2367318" y="191375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A6DF1E54-F4A1-E83F-8FBA-19DDE5AAC86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890500" y="2127769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248BFC27-9417-BC11-7243-27892505071D}"/>
              </a:ext>
            </a:extLst>
          </p:cNvPr>
          <p:cNvSpPr/>
          <p:nvPr userDrawn="1"/>
        </p:nvSpPr>
        <p:spPr>
          <a:xfrm>
            <a:off x="7673791" y="191375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8" name="Arc 7">
            <a:extLst>
              <a:ext uri="{FF2B5EF4-FFF2-40B4-BE49-F238E27FC236}">
                <a16:creationId xmlns:a16="http://schemas.microsoft.com/office/drawing/2014/main" id="{6F8AD76B-4766-500E-E593-975A7F1AACB1}"/>
              </a:ext>
            </a:extLst>
          </p:cNvPr>
          <p:cNvSpPr/>
          <p:nvPr userDrawn="1"/>
        </p:nvSpPr>
        <p:spPr>
          <a:xfrm>
            <a:off x="7673791" y="191375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E6E216D-86E6-6301-1B3E-9EFCFC6FFA7C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9" name="Picture 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32080C2C-64B7-A151-F44B-5B84872D30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165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0476" y="4235785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5313" y="4235785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00151" y="4235784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3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9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865EFAE0-675D-E4C9-D033-8A31F875BA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99251" y="2019869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3" name="Arc 2">
            <a:extLst>
              <a:ext uri="{FF2B5EF4-FFF2-40B4-BE49-F238E27FC236}">
                <a16:creationId xmlns:a16="http://schemas.microsoft.com/office/drawing/2014/main" id="{7845045A-9483-5D3B-15A3-4CF7F6C7FA6E}"/>
              </a:ext>
            </a:extLst>
          </p:cNvPr>
          <p:cNvSpPr/>
          <p:nvPr userDrawn="1"/>
        </p:nvSpPr>
        <p:spPr>
          <a:xfrm>
            <a:off x="1382542" y="180585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21F4F86A-84AA-A12E-2D21-A90F5EE6C440}"/>
              </a:ext>
            </a:extLst>
          </p:cNvPr>
          <p:cNvSpPr/>
          <p:nvPr userDrawn="1"/>
        </p:nvSpPr>
        <p:spPr>
          <a:xfrm>
            <a:off x="1382542" y="180585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2355948A-074D-0627-025D-E49F0D47260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244088" y="2019869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72BB7351-96C7-2250-6CBB-28EBF85083B0}"/>
              </a:ext>
            </a:extLst>
          </p:cNvPr>
          <p:cNvSpPr/>
          <p:nvPr userDrawn="1"/>
        </p:nvSpPr>
        <p:spPr>
          <a:xfrm>
            <a:off x="5027379" y="180585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D47057DB-80B0-654D-90EE-BB897C8F3FA9}"/>
              </a:ext>
            </a:extLst>
          </p:cNvPr>
          <p:cNvSpPr/>
          <p:nvPr userDrawn="1"/>
        </p:nvSpPr>
        <p:spPr>
          <a:xfrm>
            <a:off x="5027379" y="180585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4A3248EA-BA76-20C7-B18E-B6A2B03F94D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888925" y="2019869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DF9EF6AA-BCCF-16BA-1338-495BC4F6C617}"/>
              </a:ext>
            </a:extLst>
          </p:cNvPr>
          <p:cNvSpPr/>
          <p:nvPr userDrawn="1"/>
        </p:nvSpPr>
        <p:spPr>
          <a:xfrm>
            <a:off x="8672217" y="180585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8" name="Arc 17">
            <a:extLst>
              <a:ext uri="{FF2B5EF4-FFF2-40B4-BE49-F238E27FC236}">
                <a16:creationId xmlns:a16="http://schemas.microsoft.com/office/drawing/2014/main" id="{4CF23B48-93C8-82C3-A456-6039B56FA1D5}"/>
              </a:ext>
            </a:extLst>
          </p:cNvPr>
          <p:cNvSpPr/>
          <p:nvPr userDrawn="1"/>
        </p:nvSpPr>
        <p:spPr>
          <a:xfrm>
            <a:off x="8672217" y="180585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98C56C1-2C0F-3F56-0EAF-4286AE0E6868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04295181-FEE3-3671-D45E-7C29FC072C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106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083" y="4235785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30554" y="4235785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2023" y="4235785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3494" y="4235785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3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9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916B36FD-E9C7-0EB7-4644-B045FADB85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9280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4ED6FD4A-B9F9-0837-DB72-5C770519EEF2}"/>
              </a:ext>
            </a:extLst>
          </p:cNvPr>
          <p:cNvSpPr/>
          <p:nvPr userDrawn="1"/>
        </p:nvSpPr>
        <p:spPr>
          <a:xfrm>
            <a:off x="832571" y="1817945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3879B161-1AE2-FADA-334A-EFF2705442B2}"/>
              </a:ext>
            </a:extLst>
          </p:cNvPr>
          <p:cNvSpPr/>
          <p:nvPr userDrawn="1"/>
        </p:nvSpPr>
        <p:spPr>
          <a:xfrm>
            <a:off x="832571" y="1817945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7328D67A-6990-6860-7D63-8EBD5F23BAC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50749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2ED2785D-F10D-C3F1-CD79-DDF830F565C7}"/>
              </a:ext>
            </a:extLst>
          </p:cNvPr>
          <p:cNvSpPr/>
          <p:nvPr userDrawn="1"/>
        </p:nvSpPr>
        <p:spPr>
          <a:xfrm>
            <a:off x="3634042" y="1817945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D57C4C20-7530-E470-7383-AE41F046A1D7}"/>
              </a:ext>
            </a:extLst>
          </p:cNvPr>
          <p:cNvSpPr/>
          <p:nvPr userDrawn="1"/>
        </p:nvSpPr>
        <p:spPr>
          <a:xfrm>
            <a:off x="3634042" y="1817945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D32EAB26-5370-6E5A-64B1-4E63CC98E0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52220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C0AD66CC-EC9B-A4CD-A7B9-42ED1646CB6C}"/>
              </a:ext>
            </a:extLst>
          </p:cNvPr>
          <p:cNvSpPr/>
          <p:nvPr userDrawn="1"/>
        </p:nvSpPr>
        <p:spPr>
          <a:xfrm>
            <a:off x="6435511" y="1817945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3" name="Arc 22">
            <a:extLst>
              <a:ext uri="{FF2B5EF4-FFF2-40B4-BE49-F238E27FC236}">
                <a16:creationId xmlns:a16="http://schemas.microsoft.com/office/drawing/2014/main" id="{6E724543-4743-391D-133C-C13841B63EA8}"/>
              </a:ext>
            </a:extLst>
          </p:cNvPr>
          <p:cNvSpPr/>
          <p:nvPr userDrawn="1"/>
        </p:nvSpPr>
        <p:spPr>
          <a:xfrm>
            <a:off x="6435511" y="1817945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A422CF18-5A3F-9CEA-0302-225E0F8673C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453691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5" name="Arc 24">
            <a:extLst>
              <a:ext uri="{FF2B5EF4-FFF2-40B4-BE49-F238E27FC236}">
                <a16:creationId xmlns:a16="http://schemas.microsoft.com/office/drawing/2014/main" id="{77D2335B-E767-A773-6A8A-16A2CC76473A}"/>
              </a:ext>
            </a:extLst>
          </p:cNvPr>
          <p:cNvSpPr/>
          <p:nvPr userDrawn="1"/>
        </p:nvSpPr>
        <p:spPr>
          <a:xfrm>
            <a:off x="9236982" y="1817945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6" name="Arc 25">
            <a:extLst>
              <a:ext uri="{FF2B5EF4-FFF2-40B4-BE49-F238E27FC236}">
                <a16:creationId xmlns:a16="http://schemas.microsoft.com/office/drawing/2014/main" id="{4232EF04-DFEA-B19B-2994-47F6D5F805CF}"/>
              </a:ext>
            </a:extLst>
          </p:cNvPr>
          <p:cNvSpPr/>
          <p:nvPr userDrawn="1"/>
        </p:nvSpPr>
        <p:spPr>
          <a:xfrm>
            <a:off x="9236982" y="1817945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DA4AD3B-A48B-FE95-DABE-9280DC42859F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2A8C84DE-812B-4CCA-736C-CACC213548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152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629"/>
          <a:stretch/>
        </p:blipFill>
        <p:spPr>
          <a:xfrm>
            <a:off x="0" y="0"/>
            <a:ext cx="3953437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-17882" y="0"/>
            <a:ext cx="3953437" cy="6858000"/>
          </a:xfrm>
          <a:prstGeom prst="rect">
            <a:avLst/>
          </a:prstGeom>
          <a:solidFill>
            <a:srgbClr val="D51236">
              <a:alpha val="7098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2168952" y="1655092"/>
            <a:ext cx="3566160" cy="3566160"/>
          </a:xfrm>
          <a:prstGeom prst="arc">
            <a:avLst>
              <a:gd name="adj1" fmla="val 6896465"/>
              <a:gd name="adj2" fmla="val 8818805"/>
            </a:avLst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C5FD2D68-2060-1E2D-2AF0-AC75F6A5380F}"/>
              </a:ext>
            </a:extLst>
          </p:cNvPr>
          <p:cNvSpPr>
            <a:spLocks noChangeAspect="1"/>
          </p:cNvSpPr>
          <p:nvPr userDrawn="1"/>
        </p:nvSpPr>
        <p:spPr>
          <a:xfrm>
            <a:off x="2449655" y="1955899"/>
            <a:ext cx="2971800" cy="29718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FD1A75F9-6602-5301-7392-68323FD6ACD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71315" y="2173585"/>
            <a:ext cx="2528479" cy="253643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2D0A4C88-0868-296B-A427-A0E9FE4F01B7}"/>
              </a:ext>
            </a:extLst>
          </p:cNvPr>
          <p:cNvSpPr/>
          <p:nvPr userDrawn="1"/>
        </p:nvSpPr>
        <p:spPr>
          <a:xfrm>
            <a:off x="2247781" y="1734204"/>
            <a:ext cx="3408219" cy="3408219"/>
          </a:xfrm>
          <a:prstGeom prst="arc">
            <a:avLst>
              <a:gd name="adj1" fmla="val 16195710"/>
              <a:gd name="adj2" fmla="val 19139618"/>
            </a:avLst>
          </a:prstGeom>
          <a:ln w="38100">
            <a:solidFill>
              <a:schemeClr val="accent2">
                <a:alpha val="7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3EE678F-F1A4-5430-C2A7-11B43E0BCCD1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C3D6704F-7411-3CDE-9EBF-CA5B7AC402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578" y="2164794"/>
            <a:ext cx="4351788" cy="2543175"/>
          </a:xfrm>
        </p:spPr>
        <p:txBody>
          <a:bodyPr lIns="0" rIns="0" anchor="ctr">
            <a:normAutofit/>
          </a:bodyPr>
          <a:lstStyle>
            <a:lvl1pPr marL="0" indent="0">
              <a:lnSpc>
                <a:spcPct val="100000"/>
              </a:lnSpc>
              <a:buNone/>
              <a:defRPr sz="3200" b="1" spc="40" baseline="0">
                <a:solidFill>
                  <a:schemeClr val="accent1"/>
                </a:solidFill>
              </a:defRPr>
            </a:lvl1pPr>
            <a:lvl2pPr marL="6351" indent="0">
              <a:lnSpc>
                <a:spcPct val="100000"/>
              </a:lnSpc>
              <a:buNone/>
              <a:tabLst/>
              <a:defRPr sz="2400" spc="40">
                <a:solidFill>
                  <a:schemeClr val="accent1"/>
                </a:solidFill>
              </a:defRPr>
            </a:lvl2pPr>
            <a:lvl3pPr marL="6351" indent="0">
              <a:lnSpc>
                <a:spcPct val="100000"/>
              </a:lnSpc>
              <a:buNone/>
              <a:tabLst/>
              <a:defRPr sz="1800" spc="4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</p:spTree>
    <p:extLst>
      <p:ext uri="{BB962C8B-B14F-4D97-AF65-F5344CB8AC3E}">
        <p14:creationId xmlns:p14="http://schemas.microsoft.com/office/powerpoint/2010/main" val="970534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499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ord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6203560" y="1409658"/>
            <a:ext cx="4062661" cy="4062661"/>
          </a:xfrm>
          <a:prstGeom prst="chord">
            <a:avLst>
              <a:gd name="adj1" fmla="val 5380442"/>
              <a:gd name="adj2" fmla="val 16200000"/>
            </a:avLst>
          </a:prstGeom>
          <a:solidFill>
            <a:schemeClr val="accent5">
              <a:alpha val="14000"/>
            </a:schemeClr>
          </a:solidFill>
          <a:ln w="3810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59" r="170"/>
          <a:stretch/>
        </p:blipFill>
        <p:spPr>
          <a:xfrm>
            <a:off x="8238562" y="0"/>
            <a:ext cx="3953438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8238563" y="0"/>
            <a:ext cx="3953437" cy="6858000"/>
          </a:xfrm>
          <a:prstGeom prst="rect">
            <a:avLst/>
          </a:prstGeom>
          <a:solidFill>
            <a:schemeClr val="accent5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F597556C-921F-8A86-4312-95EAE44E731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4087" y="1907259"/>
            <a:ext cx="5319513" cy="4354993"/>
          </a:xfrm>
        </p:spPr>
        <p:txBody>
          <a:bodyPr lIns="0" rIns="0"/>
          <a:lstStyle>
            <a:lvl1pPr marL="0" indent="0">
              <a:buNone/>
              <a:defRPr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C5E39A7-32B5-A4CA-7EB6-0CF0F105FF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366" y="312132"/>
            <a:ext cx="5318234" cy="480131"/>
          </a:xfrm>
        </p:spPr>
        <p:txBody>
          <a:bodyPr wrap="square" lIns="0" rIns="0" anchor="b">
            <a:sp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BF1C4B2-7895-8661-D5BA-28609D34E2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5366" y="989732"/>
            <a:ext cx="5318234" cy="369332"/>
          </a:xfrm>
        </p:spPr>
        <p:txBody>
          <a:bodyPr wrap="square" lIns="0" rIns="0">
            <a:spAutoFit/>
          </a:bodyPr>
          <a:lstStyle>
            <a:lvl1pPr marL="0" indent="0" algn="l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C6EDF7-A28E-CA58-E0DE-30C4A8CF1043}"/>
              </a:ext>
            </a:extLst>
          </p:cNvPr>
          <p:cNvCxnSpPr>
            <a:cxnSpLocks/>
          </p:cNvCxnSpPr>
          <p:nvPr userDrawn="1"/>
        </p:nvCxnSpPr>
        <p:spPr>
          <a:xfrm>
            <a:off x="625366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9" name="Picture 1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490E5B3-7867-69E6-A4BD-CCC34DDB077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384E2753-8378-A889-2BF7-63F1D469C15F}"/>
              </a:ext>
            </a:extLst>
          </p:cNvPr>
          <p:cNvSpPr/>
          <p:nvPr userDrawn="1"/>
        </p:nvSpPr>
        <p:spPr>
          <a:xfrm>
            <a:off x="6544606" y="1750704"/>
            <a:ext cx="3380568" cy="338056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6E5DF571-44A5-A36E-77C0-B0517DF656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88984" y="1990535"/>
            <a:ext cx="2891812" cy="2900906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26019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744">
          <p15:clr>
            <a:srgbClr val="FBAE40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0921E300-150A-3068-6A92-48686570DDC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84027" y="2127769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4350" y="4235784"/>
            <a:ext cx="4119477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37652" y="4235784"/>
            <a:ext cx="4119477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3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9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Arc 2">
            <a:extLst>
              <a:ext uri="{FF2B5EF4-FFF2-40B4-BE49-F238E27FC236}">
                <a16:creationId xmlns:a16="http://schemas.microsoft.com/office/drawing/2014/main" id="{EA8FEC01-A47C-0769-0F0A-45EB5812A7F9}"/>
              </a:ext>
            </a:extLst>
          </p:cNvPr>
          <p:cNvSpPr/>
          <p:nvPr userDrawn="1"/>
        </p:nvSpPr>
        <p:spPr>
          <a:xfrm>
            <a:off x="2367318" y="191375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D9DD3650-AB75-F631-B1DE-B6F1D86C5C07}"/>
              </a:ext>
            </a:extLst>
          </p:cNvPr>
          <p:cNvSpPr/>
          <p:nvPr userDrawn="1"/>
        </p:nvSpPr>
        <p:spPr>
          <a:xfrm>
            <a:off x="2367318" y="191375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A6DF1E54-F4A1-E83F-8FBA-19DDE5AAC86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890500" y="2127769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248BFC27-9417-BC11-7243-27892505071D}"/>
              </a:ext>
            </a:extLst>
          </p:cNvPr>
          <p:cNvSpPr/>
          <p:nvPr userDrawn="1"/>
        </p:nvSpPr>
        <p:spPr>
          <a:xfrm>
            <a:off x="7673791" y="191375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8" name="Arc 7">
            <a:extLst>
              <a:ext uri="{FF2B5EF4-FFF2-40B4-BE49-F238E27FC236}">
                <a16:creationId xmlns:a16="http://schemas.microsoft.com/office/drawing/2014/main" id="{6F8AD76B-4766-500E-E593-975A7F1AACB1}"/>
              </a:ext>
            </a:extLst>
          </p:cNvPr>
          <p:cNvSpPr/>
          <p:nvPr userDrawn="1"/>
        </p:nvSpPr>
        <p:spPr>
          <a:xfrm>
            <a:off x="7673791" y="191375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8DF7DDA-BEB5-DE65-047F-91D652267391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9" name="Picture 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B2D77741-2C46-4293-9116-EE8D58D727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978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0476" y="4235785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5313" y="4235785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00151" y="4235784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3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9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865EFAE0-675D-E4C9-D033-8A31F875BA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99251" y="2019869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3" name="Arc 2">
            <a:extLst>
              <a:ext uri="{FF2B5EF4-FFF2-40B4-BE49-F238E27FC236}">
                <a16:creationId xmlns:a16="http://schemas.microsoft.com/office/drawing/2014/main" id="{7845045A-9483-5D3B-15A3-4CF7F6C7FA6E}"/>
              </a:ext>
            </a:extLst>
          </p:cNvPr>
          <p:cNvSpPr/>
          <p:nvPr userDrawn="1"/>
        </p:nvSpPr>
        <p:spPr>
          <a:xfrm>
            <a:off x="1382542" y="180585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21F4F86A-84AA-A12E-2D21-A90F5EE6C440}"/>
              </a:ext>
            </a:extLst>
          </p:cNvPr>
          <p:cNvSpPr/>
          <p:nvPr userDrawn="1"/>
        </p:nvSpPr>
        <p:spPr>
          <a:xfrm>
            <a:off x="1382542" y="180585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2355948A-074D-0627-025D-E49F0D47260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244088" y="2019869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72BB7351-96C7-2250-6CBB-28EBF85083B0}"/>
              </a:ext>
            </a:extLst>
          </p:cNvPr>
          <p:cNvSpPr/>
          <p:nvPr userDrawn="1"/>
        </p:nvSpPr>
        <p:spPr>
          <a:xfrm>
            <a:off x="5027379" y="180585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D47057DB-80B0-654D-90EE-BB897C8F3FA9}"/>
              </a:ext>
            </a:extLst>
          </p:cNvPr>
          <p:cNvSpPr/>
          <p:nvPr userDrawn="1"/>
        </p:nvSpPr>
        <p:spPr>
          <a:xfrm>
            <a:off x="5027379" y="180585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4A3248EA-BA76-20C7-B18E-B6A2B03F94D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888925" y="2019869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DF9EF6AA-BCCF-16BA-1338-495BC4F6C617}"/>
              </a:ext>
            </a:extLst>
          </p:cNvPr>
          <p:cNvSpPr/>
          <p:nvPr userDrawn="1"/>
        </p:nvSpPr>
        <p:spPr>
          <a:xfrm>
            <a:off x="8672217" y="180585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8" name="Arc 17">
            <a:extLst>
              <a:ext uri="{FF2B5EF4-FFF2-40B4-BE49-F238E27FC236}">
                <a16:creationId xmlns:a16="http://schemas.microsoft.com/office/drawing/2014/main" id="{4CF23B48-93C8-82C3-A456-6039B56FA1D5}"/>
              </a:ext>
            </a:extLst>
          </p:cNvPr>
          <p:cNvSpPr/>
          <p:nvPr userDrawn="1"/>
        </p:nvSpPr>
        <p:spPr>
          <a:xfrm>
            <a:off x="8672217" y="180585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DD4DFE0-97B4-36F6-A73C-F1F9C481908D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2A78E71D-C7E5-1F0E-EF17-679E9230F4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5664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083" y="4235785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30554" y="4235785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2023" y="4235785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3494" y="4235785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3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9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916B36FD-E9C7-0EB7-4644-B045FADB85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9280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4ED6FD4A-B9F9-0837-DB72-5C770519EEF2}"/>
              </a:ext>
            </a:extLst>
          </p:cNvPr>
          <p:cNvSpPr/>
          <p:nvPr userDrawn="1"/>
        </p:nvSpPr>
        <p:spPr>
          <a:xfrm>
            <a:off x="832571" y="1817945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3879B161-1AE2-FADA-334A-EFF2705442B2}"/>
              </a:ext>
            </a:extLst>
          </p:cNvPr>
          <p:cNvSpPr/>
          <p:nvPr userDrawn="1"/>
        </p:nvSpPr>
        <p:spPr>
          <a:xfrm>
            <a:off x="832571" y="1817945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7328D67A-6990-6860-7D63-8EBD5F23BAC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50749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2ED2785D-F10D-C3F1-CD79-DDF830F565C7}"/>
              </a:ext>
            </a:extLst>
          </p:cNvPr>
          <p:cNvSpPr/>
          <p:nvPr userDrawn="1"/>
        </p:nvSpPr>
        <p:spPr>
          <a:xfrm>
            <a:off x="3634042" y="1817945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D57C4C20-7530-E470-7383-AE41F046A1D7}"/>
              </a:ext>
            </a:extLst>
          </p:cNvPr>
          <p:cNvSpPr/>
          <p:nvPr userDrawn="1"/>
        </p:nvSpPr>
        <p:spPr>
          <a:xfrm>
            <a:off x="3634042" y="1817945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D32EAB26-5370-6E5A-64B1-4E63CC98E0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52220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C0AD66CC-EC9B-A4CD-A7B9-42ED1646CB6C}"/>
              </a:ext>
            </a:extLst>
          </p:cNvPr>
          <p:cNvSpPr/>
          <p:nvPr userDrawn="1"/>
        </p:nvSpPr>
        <p:spPr>
          <a:xfrm>
            <a:off x="6435511" y="1817945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3" name="Arc 22">
            <a:extLst>
              <a:ext uri="{FF2B5EF4-FFF2-40B4-BE49-F238E27FC236}">
                <a16:creationId xmlns:a16="http://schemas.microsoft.com/office/drawing/2014/main" id="{6E724543-4743-391D-133C-C13841B63EA8}"/>
              </a:ext>
            </a:extLst>
          </p:cNvPr>
          <p:cNvSpPr/>
          <p:nvPr userDrawn="1"/>
        </p:nvSpPr>
        <p:spPr>
          <a:xfrm>
            <a:off x="6435511" y="1817945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A422CF18-5A3F-9CEA-0302-225E0F8673C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453691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5" name="Arc 24">
            <a:extLst>
              <a:ext uri="{FF2B5EF4-FFF2-40B4-BE49-F238E27FC236}">
                <a16:creationId xmlns:a16="http://schemas.microsoft.com/office/drawing/2014/main" id="{77D2335B-E767-A773-6A8A-16A2CC76473A}"/>
              </a:ext>
            </a:extLst>
          </p:cNvPr>
          <p:cNvSpPr/>
          <p:nvPr userDrawn="1"/>
        </p:nvSpPr>
        <p:spPr>
          <a:xfrm>
            <a:off x="9236982" y="1817945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6" name="Arc 25">
            <a:extLst>
              <a:ext uri="{FF2B5EF4-FFF2-40B4-BE49-F238E27FC236}">
                <a16:creationId xmlns:a16="http://schemas.microsoft.com/office/drawing/2014/main" id="{4232EF04-DFEA-B19B-2994-47F6D5F805CF}"/>
              </a:ext>
            </a:extLst>
          </p:cNvPr>
          <p:cNvSpPr/>
          <p:nvPr userDrawn="1"/>
        </p:nvSpPr>
        <p:spPr>
          <a:xfrm>
            <a:off x="9236982" y="1817945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0DCAA4F-9776-70FE-CFCB-65AFAAC3A1F7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993F3D21-E811-18C1-7DE0-F951D98F48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9811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5080852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id="{8E6307E9-38D4-6EDA-12AC-65A4378AEFA6}"/>
              </a:ext>
            </a:extLst>
          </p:cNvPr>
          <p:cNvSpPr/>
          <p:nvPr userDrawn="1"/>
        </p:nvSpPr>
        <p:spPr>
          <a:xfrm>
            <a:off x="1925143" y="2385041"/>
            <a:ext cx="3314847" cy="3314847"/>
          </a:xfrm>
          <a:prstGeom prst="ellipse">
            <a:avLst/>
          </a:prstGeom>
          <a:solidFill>
            <a:srgbClr val="55A58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0921E300-150A-3068-6A92-48686570DDC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113984" y="2569261"/>
            <a:ext cx="2937163" cy="2946400"/>
          </a:xfrm>
          <a:prstGeom prst="ellipse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/>
          <a:p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D5AB2659-DAE5-EA62-EE52-D60659DB0D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519430"/>
            <a:ext cx="10972800" cy="553998"/>
          </a:xfrm>
        </p:spPr>
        <p:txBody>
          <a:bodyPr wrap="square" anchor="b">
            <a:spAutoFit/>
          </a:bodyPr>
          <a:lstStyle>
            <a:lvl1pPr algn="ctr">
              <a:defRPr sz="3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to keep one line if possib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3C831053-7667-3331-CC4C-7268C4E2270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1270897"/>
            <a:ext cx="10972800" cy="400110"/>
          </a:xfrm>
        </p:spPr>
        <p:txBody>
          <a:bodyPr wrap="square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4D0DA39-B322-236F-0B8D-C1F2640F72CF}"/>
              </a:ext>
            </a:extLst>
          </p:cNvPr>
          <p:cNvCxnSpPr>
            <a:cxnSpLocks/>
          </p:cNvCxnSpPr>
          <p:nvPr userDrawn="1"/>
        </p:nvCxnSpPr>
        <p:spPr>
          <a:xfrm>
            <a:off x="5243079" y="1158465"/>
            <a:ext cx="170584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02448" y="2770877"/>
            <a:ext cx="5579952" cy="2543175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b="1">
                <a:solidFill>
                  <a:schemeClr val="accent1"/>
                </a:solidFill>
              </a:defRPr>
            </a:lvl1pPr>
            <a:lvl2pPr marL="6351" indent="0">
              <a:lnSpc>
                <a:spcPct val="100000"/>
              </a:lnSpc>
              <a:buNone/>
              <a:tabLst/>
              <a:defRPr sz="2000">
                <a:solidFill>
                  <a:schemeClr val="accent1"/>
                </a:solidFill>
              </a:defRPr>
            </a:lvl2pPr>
            <a:lvl3pPr marL="6351" indent="0">
              <a:lnSpc>
                <a:spcPct val="100000"/>
              </a:lnSpc>
              <a:buNone/>
              <a:tabLst/>
              <a:defRPr sz="160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Title</a:t>
            </a:r>
          </a:p>
          <a:p>
            <a:pPr lvl="1"/>
            <a:r>
              <a:rPr lang="en-US"/>
              <a:t>Speaker 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4E256D6E-20C1-4B3E-3E45-82D8C5B7AD79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5" name="Picture 4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EB6DEE1A-7767-AE79-1479-0E27A082EF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814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B938C31-136F-E3FB-281A-3A9C76D977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714" t="-355" r="-937" b="57158"/>
          <a:stretch/>
        </p:blipFill>
        <p:spPr>
          <a:xfrm>
            <a:off x="0" y="4386656"/>
            <a:ext cx="4704080" cy="247134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AE647DC-5977-5FDE-D0BC-58A33AB621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55263" r="11846"/>
          <a:stretch/>
        </p:blipFill>
        <p:spPr>
          <a:xfrm>
            <a:off x="7294880" y="1"/>
            <a:ext cx="4897120" cy="2485259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A408DD9-D3F6-CF7D-63E6-5B0704F1AB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3988" y="3155178"/>
            <a:ext cx="8244027" cy="553998"/>
          </a:xfrm>
        </p:spPr>
        <p:txBody>
          <a:bodyPr wrap="square" lIns="0" rIns="0" anchor="ctr">
            <a:spAutoFit/>
          </a:bodyPr>
          <a:lstStyle>
            <a:lvl1pPr algn="ctr">
              <a:lnSpc>
                <a:spcPct val="100000"/>
              </a:lnSpc>
              <a:defRPr sz="3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090914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B938C31-136F-E3FB-281A-3A9C76D977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714" t="-355" r="-937" b="57158"/>
          <a:stretch/>
        </p:blipFill>
        <p:spPr>
          <a:xfrm>
            <a:off x="0" y="4386656"/>
            <a:ext cx="4704080" cy="247134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AE647DC-5977-5FDE-D0BC-58A33AB621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55263" r="11846"/>
          <a:stretch/>
        </p:blipFill>
        <p:spPr>
          <a:xfrm>
            <a:off x="7294880" y="0"/>
            <a:ext cx="4897120" cy="248525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59B427A-D01D-8479-F562-412923A6CD9A}"/>
              </a:ext>
            </a:extLst>
          </p:cNvPr>
          <p:cNvSpPr/>
          <p:nvPr userDrawn="1"/>
        </p:nvSpPr>
        <p:spPr>
          <a:xfrm>
            <a:off x="5339803" y="3536897"/>
            <a:ext cx="1512396" cy="73152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047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9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1710B9BE-7A8C-BDD1-A5B9-BC375947024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965394" y="3813365"/>
            <a:ext cx="6261215" cy="429635"/>
          </a:xfrm>
        </p:spPr>
        <p:txBody>
          <a:bodyPr lIns="0" rIns="0">
            <a:normAutofit/>
          </a:bodyPr>
          <a:lstStyle>
            <a:lvl1pPr marL="0" indent="0" algn="ctr">
              <a:buNone/>
              <a:defRPr sz="20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C61348C-1DBF-8DC1-15B5-EA29ABE2458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271439" y="1798716"/>
            <a:ext cx="7649123" cy="1606653"/>
          </a:xfrm>
        </p:spPr>
        <p:txBody>
          <a:bodyPr lIns="0" rIns="0" anchor="b">
            <a:noAutofit/>
          </a:bodyPr>
          <a:lstStyle>
            <a:lvl1pPr algn="ctr">
              <a:defRPr sz="3600" b="1" spc="3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86460644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>
            <a:extLst>
              <a:ext uri="{FF2B5EF4-FFF2-40B4-BE49-F238E27FC236}">
                <a16:creationId xmlns:a16="http://schemas.microsoft.com/office/drawing/2014/main" id="{F2E01A5F-CFD5-6ACC-749D-FE85CA8A087F}"/>
              </a:ext>
            </a:extLst>
          </p:cNvPr>
          <p:cNvGrpSpPr/>
          <p:nvPr userDrawn="1"/>
        </p:nvGrpSpPr>
        <p:grpSpPr>
          <a:xfrm>
            <a:off x="5681271" y="302627"/>
            <a:ext cx="6267156" cy="6267156"/>
            <a:chOff x="4239686" y="333300"/>
            <a:chExt cx="4700367" cy="4700367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B64A0D2A-373A-7719-3B17-0D6B51577171}"/>
                </a:ext>
              </a:extLst>
            </p:cNvPr>
            <p:cNvSpPr/>
            <p:nvPr userDrawn="1"/>
          </p:nvSpPr>
          <p:spPr>
            <a:xfrm>
              <a:off x="4239686" y="333300"/>
              <a:ext cx="4700367" cy="4700367"/>
            </a:xfrm>
            <a:prstGeom prst="ellipse">
              <a:avLst/>
            </a:prstGeom>
            <a:solidFill>
              <a:schemeClr val="accent2">
                <a:alpha val="4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A952CF0-FC0B-E391-6F86-F7C943EA59A1}"/>
                </a:ext>
              </a:extLst>
            </p:cNvPr>
            <p:cNvSpPr/>
            <p:nvPr userDrawn="1"/>
          </p:nvSpPr>
          <p:spPr>
            <a:xfrm>
              <a:off x="4642353" y="735967"/>
              <a:ext cx="3895032" cy="3895032"/>
            </a:xfrm>
            <a:prstGeom prst="ellipse">
              <a:avLst/>
            </a:prstGeom>
            <a:solidFill>
              <a:schemeClr val="accent2">
                <a:alpha val="4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A9335B6E-3356-76DF-A18D-25E5609184C7}"/>
                </a:ext>
              </a:extLst>
            </p:cNvPr>
            <p:cNvSpPr/>
            <p:nvPr userDrawn="1"/>
          </p:nvSpPr>
          <p:spPr>
            <a:xfrm>
              <a:off x="5111481" y="1205095"/>
              <a:ext cx="2956776" cy="2956776"/>
            </a:xfrm>
            <a:prstGeom prst="ellipse">
              <a:avLst/>
            </a:prstGeom>
            <a:solidFill>
              <a:schemeClr val="accent2">
                <a:alpha val="4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B5A9E4D-0D92-5ED2-F736-186687CB9B3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816187" y="2005820"/>
            <a:ext cx="3997325" cy="2693987"/>
          </a:xfrm>
          <a:solidFill>
            <a:schemeClr val="tx1">
              <a:lumMod val="85000"/>
              <a:lumOff val="15000"/>
            </a:schemeClr>
          </a:solidFill>
        </p:spPr>
        <p:txBody>
          <a:bodyPr anchor="ctr"/>
          <a:lstStyle>
            <a:lvl1pPr marL="0" indent="0" algn="ctr">
              <a:buFont typeface="+mj-lt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or drag and drop to add a photo he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A9863EB-9441-BA9A-FFD4-53ACF01937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25950"/>
            <a:ext cx="4901739" cy="647479"/>
          </a:xfrm>
        </p:spPr>
        <p:txBody>
          <a:bodyPr anchor="b">
            <a:normAutofit/>
          </a:bodyPr>
          <a:lstStyle>
            <a:lvl1pPr marL="0"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EE68DFBF-17CA-0739-79DF-2440B97548E6}"/>
              </a:ext>
            </a:extLst>
          </p:cNvPr>
          <p:cNvSpPr>
            <a:spLocks noGrp="1"/>
          </p:cNvSpPr>
          <p:nvPr>
            <p:ph type="subTitle" idx="11" hasCustomPrompt="1"/>
          </p:nvPr>
        </p:nvSpPr>
        <p:spPr>
          <a:xfrm>
            <a:off x="609601" y="1270897"/>
            <a:ext cx="4975723" cy="429635"/>
          </a:xfrm>
        </p:spPr>
        <p:txBody>
          <a:bodyPr>
            <a:no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EBBA20E-019A-2171-093E-3C27A5DC1DB7}"/>
              </a:ext>
            </a:extLst>
          </p:cNvPr>
          <p:cNvCxnSpPr>
            <a:cxnSpLocks/>
          </p:cNvCxnSpPr>
          <p:nvPr userDrawn="1"/>
        </p:nvCxnSpPr>
        <p:spPr>
          <a:xfrm>
            <a:off x="609602" y="1143951"/>
            <a:ext cx="170584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E386C030-BFEB-D345-347F-47BE7D01D924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EC6927A1-766E-1772-29E6-E7CCA318AC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991374"/>
            <a:ext cx="4975723" cy="4108639"/>
          </a:xfrm>
        </p:spPr>
        <p:txBody>
          <a:bodyPr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lang="en-US" sz="2400"/>
              <a:t>Click to edit text</a:t>
            </a:r>
          </a:p>
          <a:p>
            <a:pPr marL="406381" lvl="1" indent="-242877"/>
            <a:r>
              <a:rPr lang="en-US" sz="2000"/>
              <a:t>Second level</a:t>
            </a:r>
          </a:p>
          <a:p>
            <a:pPr marL="744501" lvl="2" indent="-220652"/>
            <a:r>
              <a:rPr lang="en-US" sz="1800"/>
              <a:t>Third level</a:t>
            </a:r>
          </a:p>
          <a:p>
            <a:pPr marL="1206441" lvl="3" indent="-234939"/>
            <a:r>
              <a:rPr lang="en-US" sz="1600"/>
              <a:t>Fourth level</a:t>
            </a:r>
          </a:p>
          <a:p>
            <a:pPr marL="1716002" lvl="4" indent="-227002"/>
            <a:r>
              <a:rPr lang="en-US" sz="1600"/>
              <a:t>Fifth level</a:t>
            </a:r>
          </a:p>
        </p:txBody>
      </p:sp>
      <p:pic>
        <p:nvPicPr>
          <p:cNvPr id="3" name="Picture 2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FB672482-DA92-4BF3-DD97-0AC5362215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537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763ACAB-1522-193C-3DDA-37705A61E9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65"/>
          <a:stretch/>
        </p:blipFill>
        <p:spPr>
          <a:xfrm>
            <a:off x="5710846" y="2328613"/>
            <a:ext cx="6548847" cy="4567135"/>
          </a:xfrm>
          <a:prstGeom prst="rect">
            <a:avLst/>
          </a:prstGeom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B5A9E4D-0D92-5ED2-F736-186687CB9B3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10943" y="1250811"/>
            <a:ext cx="2348653" cy="4354232"/>
          </a:xfrm>
          <a:solidFill>
            <a:schemeClr val="tx1">
              <a:lumMod val="85000"/>
              <a:lumOff val="15000"/>
            </a:schemeClr>
          </a:solidFill>
        </p:spPr>
        <p:txBody>
          <a:bodyPr>
            <a:normAutofit/>
          </a:bodyPr>
          <a:lstStyle>
            <a:lvl1pPr marL="0" indent="0" algn="ctr">
              <a:buFont typeface="Courier New" panose="02070309020205020404" pitchFamily="49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or drag and drop to add a photo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84051A-F5E8-B8E9-42DB-D54E1877C3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25950"/>
            <a:ext cx="4901739" cy="647479"/>
          </a:xfrm>
        </p:spPr>
        <p:txBody>
          <a:bodyPr anchor="b">
            <a:normAutofit/>
          </a:bodyPr>
          <a:lstStyle>
            <a:lvl1pPr marL="0"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EF8B57CF-7189-F8B7-8FAC-F58B7B42FC7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991374"/>
            <a:ext cx="4975723" cy="4108639"/>
          </a:xfrm>
        </p:spPr>
        <p:txBody>
          <a:bodyPr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lang="en-US" sz="2400"/>
              <a:t>Click to edit text</a:t>
            </a:r>
          </a:p>
          <a:p>
            <a:pPr marL="406381" lvl="1" indent="-242877"/>
            <a:r>
              <a:rPr lang="en-US" sz="2000"/>
              <a:t>Second level</a:t>
            </a:r>
          </a:p>
          <a:p>
            <a:pPr marL="744501" lvl="2" indent="-220652"/>
            <a:r>
              <a:rPr lang="en-US" sz="1800"/>
              <a:t>Third level</a:t>
            </a:r>
          </a:p>
          <a:p>
            <a:pPr marL="1206441" lvl="3" indent="-234939"/>
            <a:r>
              <a:rPr lang="en-US" sz="1600"/>
              <a:t>Fourth level</a:t>
            </a:r>
          </a:p>
          <a:p>
            <a:pPr marL="1716002" lvl="4" indent="-227002"/>
            <a:r>
              <a:rPr lang="en-US" sz="160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BE5355E-61BB-A1AD-AF31-8C88AE18AFDF}"/>
              </a:ext>
            </a:extLst>
          </p:cNvPr>
          <p:cNvCxnSpPr>
            <a:cxnSpLocks/>
          </p:cNvCxnSpPr>
          <p:nvPr userDrawn="1"/>
        </p:nvCxnSpPr>
        <p:spPr>
          <a:xfrm>
            <a:off x="609602" y="1143951"/>
            <a:ext cx="170584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2" name="Subtitle 2">
            <a:extLst>
              <a:ext uri="{FF2B5EF4-FFF2-40B4-BE49-F238E27FC236}">
                <a16:creationId xmlns:a16="http://schemas.microsoft.com/office/drawing/2014/main" id="{D096D4C4-A273-CCF1-6CED-146BBAD57BDF}"/>
              </a:ext>
            </a:extLst>
          </p:cNvPr>
          <p:cNvSpPr>
            <a:spLocks noGrp="1"/>
          </p:cNvSpPr>
          <p:nvPr>
            <p:ph type="subTitle" idx="11" hasCustomPrompt="1"/>
          </p:nvPr>
        </p:nvSpPr>
        <p:spPr>
          <a:xfrm>
            <a:off x="609601" y="1270897"/>
            <a:ext cx="4975723" cy="429635"/>
          </a:xfrm>
        </p:spPr>
        <p:txBody>
          <a:bodyPr>
            <a:no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C43C367-CAEE-8D03-057A-26117CF23E48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3" name="Picture 2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323B81D9-2553-EFFA-1B4C-B5775552BE7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2970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764B6067-6702-4074-7FAB-A147E7E11249}"/>
              </a:ext>
            </a:extLst>
          </p:cNvPr>
          <p:cNvGrpSpPr/>
          <p:nvPr userDrawn="1"/>
        </p:nvGrpSpPr>
        <p:grpSpPr>
          <a:xfrm rot="10800000">
            <a:off x="12033" y="4830966"/>
            <a:ext cx="6921331" cy="6921331"/>
            <a:chOff x="105150" y="-3122465"/>
            <a:chExt cx="5720108" cy="5720108"/>
          </a:xfrm>
        </p:grpSpPr>
        <p:sp>
          <p:nvSpPr>
            <p:cNvPr id="4" name="Chord 3">
              <a:extLst>
                <a:ext uri="{FF2B5EF4-FFF2-40B4-BE49-F238E27FC236}">
                  <a16:creationId xmlns:a16="http://schemas.microsoft.com/office/drawing/2014/main" id="{85666469-221D-0EE9-55D1-C24978C0921D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7" name="Chord 6">
              <a:extLst>
                <a:ext uri="{FF2B5EF4-FFF2-40B4-BE49-F238E27FC236}">
                  <a16:creationId xmlns:a16="http://schemas.microsoft.com/office/drawing/2014/main" id="{D08426C2-4774-21FA-C178-C85FD5ECEB96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9" name="Chord 8">
              <a:extLst>
                <a:ext uri="{FF2B5EF4-FFF2-40B4-BE49-F238E27FC236}">
                  <a16:creationId xmlns:a16="http://schemas.microsoft.com/office/drawing/2014/main" id="{A00BA81F-098D-F1CB-5410-26823CEFEAA7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73D7F78-6E24-C853-88D7-82DDB031AFA6}"/>
              </a:ext>
            </a:extLst>
          </p:cNvPr>
          <p:cNvGrpSpPr/>
          <p:nvPr userDrawn="1"/>
        </p:nvGrpSpPr>
        <p:grpSpPr>
          <a:xfrm>
            <a:off x="6064163" y="-3899901"/>
            <a:ext cx="7613464" cy="7613464"/>
            <a:chOff x="105150" y="-3122465"/>
            <a:chExt cx="5720108" cy="5720108"/>
          </a:xfrm>
        </p:grpSpPr>
        <p:sp>
          <p:nvSpPr>
            <p:cNvPr id="13" name="Chord 12">
              <a:extLst>
                <a:ext uri="{FF2B5EF4-FFF2-40B4-BE49-F238E27FC236}">
                  <a16:creationId xmlns:a16="http://schemas.microsoft.com/office/drawing/2014/main" id="{91EB0702-921C-08D3-A185-DD69CB4ADE27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4" name="Chord 13">
              <a:extLst>
                <a:ext uri="{FF2B5EF4-FFF2-40B4-BE49-F238E27FC236}">
                  <a16:creationId xmlns:a16="http://schemas.microsoft.com/office/drawing/2014/main" id="{D8722D47-37FC-3CA2-8458-CC595801012A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5" name="Chord 14">
              <a:extLst>
                <a:ext uri="{FF2B5EF4-FFF2-40B4-BE49-F238E27FC236}">
                  <a16:creationId xmlns:a16="http://schemas.microsoft.com/office/drawing/2014/main" id="{F57013E6-1300-C68C-F61C-A5531DCA8E24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472C3C59-EACF-1047-1DBE-2DE26A38A3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146928" y="1479553"/>
            <a:ext cx="3948113" cy="3948113"/>
          </a:xfrm>
        </p:spPr>
        <p:txBody>
          <a:bodyPr lIns="274320" tIns="274320" rIns="274320" bIns="274320"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or drag and drop to add a photo here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86F1C63-E372-31AB-92A2-6ED61A32FFDF}"/>
              </a:ext>
            </a:extLst>
          </p:cNvPr>
          <p:cNvSpPr/>
          <p:nvPr userDrawn="1"/>
        </p:nvSpPr>
        <p:spPr>
          <a:xfrm>
            <a:off x="624263" y="3766983"/>
            <a:ext cx="1512396" cy="5486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047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9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8" name="Picture 17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FA358863-BE81-3FE9-B582-FCF88EA161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400" y="1191703"/>
            <a:ext cx="2574333" cy="533048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011CC4DD-D589-D23D-C647-951BD405362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2211" y="2013036"/>
            <a:ext cx="6321588" cy="1606653"/>
          </a:xfrm>
        </p:spPr>
        <p:txBody>
          <a:bodyPr anchor="b">
            <a:noAutofit/>
          </a:bodyPr>
          <a:lstStyle>
            <a:lvl1pPr algn="l">
              <a:defRPr sz="3600" b="1" spc="3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Main Presentation Header Goes Here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7BFBEFDF-0120-C89B-8D76-E495E2DA5E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3375" y="4027685"/>
            <a:ext cx="6261215" cy="429635"/>
          </a:xfrm>
        </p:spPr>
        <p:txBody>
          <a:bodyPr>
            <a:normAutofit/>
          </a:bodyPr>
          <a:lstStyle>
            <a:lvl1pPr marL="0" indent="0" algn="l" defTabSz="91436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53857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ord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6203560" y="1409658"/>
            <a:ext cx="4062661" cy="4062661"/>
          </a:xfrm>
          <a:prstGeom prst="chord">
            <a:avLst>
              <a:gd name="adj1" fmla="val 5380442"/>
              <a:gd name="adj2" fmla="val 16200000"/>
            </a:avLst>
          </a:prstGeom>
          <a:solidFill>
            <a:schemeClr val="accent4">
              <a:alpha val="14000"/>
            </a:schemeClr>
          </a:solidFill>
          <a:ln w="3810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59" r="170"/>
          <a:stretch/>
        </p:blipFill>
        <p:spPr>
          <a:xfrm>
            <a:off x="8238562" y="0"/>
            <a:ext cx="3953438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8238563" y="0"/>
            <a:ext cx="3953437" cy="6858000"/>
          </a:xfrm>
          <a:prstGeom prst="rect">
            <a:avLst/>
          </a:prstGeom>
          <a:solidFill>
            <a:schemeClr val="accent4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F597556C-921F-8A86-4312-95EAE44E731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4087" y="1907259"/>
            <a:ext cx="5319513" cy="4354993"/>
          </a:xfrm>
        </p:spPr>
        <p:txBody>
          <a:bodyPr lIns="0" rIns="0"/>
          <a:lstStyle>
            <a:lvl1pPr marL="0" indent="0">
              <a:buNone/>
              <a:defRPr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C5E39A7-32B5-A4CA-7EB6-0CF0F105FF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366" y="312132"/>
            <a:ext cx="5318234" cy="480131"/>
          </a:xfrm>
        </p:spPr>
        <p:txBody>
          <a:bodyPr wrap="square" lIns="0" rIns="0" anchor="b">
            <a:sp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BF1C4B2-7895-8661-D5BA-28609D34E2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5366" y="989732"/>
            <a:ext cx="5318234" cy="369332"/>
          </a:xfrm>
        </p:spPr>
        <p:txBody>
          <a:bodyPr wrap="square" lIns="0" rIns="0">
            <a:spAutoFit/>
          </a:bodyPr>
          <a:lstStyle>
            <a:lvl1pPr marL="0" indent="0" algn="l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C6EDF7-A28E-CA58-E0DE-30C4A8CF1043}"/>
              </a:ext>
            </a:extLst>
          </p:cNvPr>
          <p:cNvCxnSpPr>
            <a:cxnSpLocks/>
          </p:cNvCxnSpPr>
          <p:nvPr userDrawn="1"/>
        </p:nvCxnSpPr>
        <p:spPr>
          <a:xfrm>
            <a:off x="625366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9" name="Picture 1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490E5B3-7867-69E6-A4BD-CCC34DDB077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384E2753-8378-A889-2BF7-63F1D469C15F}"/>
              </a:ext>
            </a:extLst>
          </p:cNvPr>
          <p:cNvSpPr/>
          <p:nvPr userDrawn="1"/>
        </p:nvSpPr>
        <p:spPr>
          <a:xfrm>
            <a:off x="6544606" y="1750704"/>
            <a:ext cx="3380568" cy="338056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6E5DF571-44A5-A36E-77C0-B0517DF656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88984" y="1990535"/>
            <a:ext cx="2891812" cy="2900906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89885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744">
          <p15:clr>
            <a:srgbClr val="FBAE40"/>
          </p15:clr>
        </p15:guide>
      </p15:sldGuideLst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6FE82EB0-CBD7-2D0B-C6B1-A6936ED2D309}"/>
              </a:ext>
            </a:extLst>
          </p:cNvPr>
          <p:cNvGrpSpPr/>
          <p:nvPr userDrawn="1"/>
        </p:nvGrpSpPr>
        <p:grpSpPr>
          <a:xfrm rot="10800000">
            <a:off x="12033" y="4830966"/>
            <a:ext cx="6921331" cy="6921331"/>
            <a:chOff x="105150" y="-3122465"/>
            <a:chExt cx="5720108" cy="5720108"/>
          </a:xfrm>
        </p:grpSpPr>
        <p:sp>
          <p:nvSpPr>
            <p:cNvPr id="4" name="Chord 3">
              <a:extLst>
                <a:ext uri="{FF2B5EF4-FFF2-40B4-BE49-F238E27FC236}">
                  <a16:creationId xmlns:a16="http://schemas.microsoft.com/office/drawing/2014/main" id="{91109E17-A178-B8EA-9D2F-97A2424C4425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7" name="Chord 6">
              <a:extLst>
                <a:ext uri="{FF2B5EF4-FFF2-40B4-BE49-F238E27FC236}">
                  <a16:creationId xmlns:a16="http://schemas.microsoft.com/office/drawing/2014/main" id="{D7E9EBE7-DB67-86C8-B69B-626C99F7E8EA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0" name="Chord 9">
              <a:extLst>
                <a:ext uri="{FF2B5EF4-FFF2-40B4-BE49-F238E27FC236}">
                  <a16:creationId xmlns:a16="http://schemas.microsoft.com/office/drawing/2014/main" id="{EDB7AF74-16C7-3F72-4249-F523BDB52B9A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7F8399D-A95B-64F4-95AB-4EB930006752}"/>
              </a:ext>
            </a:extLst>
          </p:cNvPr>
          <p:cNvGrpSpPr/>
          <p:nvPr userDrawn="1"/>
        </p:nvGrpSpPr>
        <p:grpSpPr>
          <a:xfrm>
            <a:off x="6064163" y="-3899901"/>
            <a:ext cx="7613464" cy="7613464"/>
            <a:chOff x="105150" y="-3122465"/>
            <a:chExt cx="5720108" cy="5720108"/>
          </a:xfrm>
        </p:grpSpPr>
        <p:sp>
          <p:nvSpPr>
            <p:cNvPr id="14" name="Chord 13">
              <a:extLst>
                <a:ext uri="{FF2B5EF4-FFF2-40B4-BE49-F238E27FC236}">
                  <a16:creationId xmlns:a16="http://schemas.microsoft.com/office/drawing/2014/main" id="{6C3C85BE-EB38-6AA2-577D-00585304B5F4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5" name="Chord 14">
              <a:extLst>
                <a:ext uri="{FF2B5EF4-FFF2-40B4-BE49-F238E27FC236}">
                  <a16:creationId xmlns:a16="http://schemas.microsoft.com/office/drawing/2014/main" id="{8F8089ED-0D58-35D1-F0BB-A547C703A387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6" name="Chord 15">
              <a:extLst>
                <a:ext uri="{FF2B5EF4-FFF2-40B4-BE49-F238E27FC236}">
                  <a16:creationId xmlns:a16="http://schemas.microsoft.com/office/drawing/2014/main" id="{C5CD82C6-7E1C-CEEC-0B22-F437263D277E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9" name="Picture Placeholder 14">
            <a:extLst>
              <a:ext uri="{FF2B5EF4-FFF2-40B4-BE49-F238E27FC236}">
                <a16:creationId xmlns:a16="http://schemas.microsoft.com/office/drawing/2014/main" id="{F9AC2DE3-FD03-AEC6-C9F0-042940406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986239" y="2252089"/>
            <a:ext cx="3303575" cy="2226435"/>
          </a:xfrm>
          <a:solidFill>
            <a:schemeClr val="tx1">
              <a:lumMod val="85000"/>
              <a:lumOff val="15000"/>
            </a:schemeClr>
          </a:solidFill>
        </p:spPr>
        <p:txBody>
          <a:bodyPr lIns="274320" tIns="274320" rIns="274320" bIns="274320" anchor="ctr">
            <a:normAutofit/>
          </a:bodyPr>
          <a:lstStyle>
            <a:lvl1pPr marL="0" indent="0" algn="ctr">
              <a:buNone/>
              <a:defRPr sz="24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or drag and drop to add a photo her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1F2709E-F330-E5A2-DB47-35C1B48F4ACA}"/>
              </a:ext>
            </a:extLst>
          </p:cNvPr>
          <p:cNvSpPr/>
          <p:nvPr userDrawn="1"/>
        </p:nvSpPr>
        <p:spPr>
          <a:xfrm>
            <a:off x="624263" y="3766983"/>
            <a:ext cx="1512396" cy="5486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047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9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8" name="Picture 17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BA0795C0-8A7E-0DA1-4E9C-8B7C6E0387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400" y="1191703"/>
            <a:ext cx="2574333" cy="533048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1939266D-8647-F19F-1B02-0E3FBD1CCD5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2211" y="2013036"/>
            <a:ext cx="6321588" cy="1606653"/>
          </a:xfrm>
        </p:spPr>
        <p:txBody>
          <a:bodyPr anchor="b">
            <a:noAutofit/>
          </a:bodyPr>
          <a:lstStyle>
            <a:lvl1pPr algn="l">
              <a:defRPr sz="3600" b="1" spc="3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Main Presentation Header Goes Here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FD2557DA-A600-B6A1-9B11-305CC75794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3375" y="4027685"/>
            <a:ext cx="6261215" cy="429635"/>
          </a:xfrm>
        </p:spPr>
        <p:txBody>
          <a:bodyPr>
            <a:normAutofit/>
          </a:bodyPr>
          <a:lstStyle>
            <a:lvl1pPr marL="0" indent="0" algn="l" defTabSz="91436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680740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F1B9A8F4-FF2A-C17D-636C-DF4EF9F81BE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90" y="-12493"/>
            <a:ext cx="7008812" cy="6857999"/>
          </a:xfr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FA51DE-7532-C7A0-7644-BD29DE2944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425950"/>
            <a:ext cx="4573588" cy="647479"/>
          </a:xfrm>
        </p:spPr>
        <p:txBody>
          <a:bodyPr lIns="0" rIns="0" anchor="b">
            <a:normAutofit/>
          </a:bodyPr>
          <a:lstStyle>
            <a:lvl1pPr marL="0"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9C7A9A-C71F-0AD7-C087-5ED72221F9A1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9600" y="1329889"/>
            <a:ext cx="4573589" cy="429635"/>
          </a:xfrm>
        </p:spPr>
        <p:txBody>
          <a:bodyPr lIns="0" rIns="0">
            <a:no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4" name="Text Placeholder 16">
            <a:extLst>
              <a:ext uri="{FF2B5EF4-FFF2-40B4-BE49-F238E27FC236}">
                <a16:creationId xmlns:a16="http://schemas.microsoft.com/office/drawing/2014/main" id="{BBF5C10D-C295-CCC8-9110-4F1E3A22CF1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8654" y="2117043"/>
            <a:ext cx="4573588" cy="4173400"/>
          </a:xfrm>
        </p:spPr>
        <p:txBody>
          <a:bodyPr lIns="0" rIns="0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accent1"/>
                </a:solidFill>
              </a:defRPr>
            </a:lvl5pPr>
          </a:lstStyle>
          <a:p>
            <a:r>
              <a:rPr lang="en-US" sz="2400"/>
              <a:t>Click to edit text</a:t>
            </a:r>
          </a:p>
          <a:p>
            <a:pPr marL="406381" lvl="1" indent="-242877"/>
            <a:r>
              <a:rPr lang="en-US" sz="2000"/>
              <a:t>Second level</a:t>
            </a:r>
          </a:p>
          <a:p>
            <a:pPr marL="744501" lvl="2" indent="-220652"/>
            <a:r>
              <a:rPr lang="en-US" sz="1800"/>
              <a:t>Third level</a:t>
            </a:r>
          </a:p>
          <a:p>
            <a:pPr marL="1206441" lvl="3" indent="-234939"/>
            <a:r>
              <a:rPr lang="en-US" sz="1600"/>
              <a:t>Fourth level</a:t>
            </a:r>
          </a:p>
          <a:p>
            <a:pPr marL="1716002" lvl="4" indent="-227002"/>
            <a:r>
              <a:rPr lang="en-US" sz="1600"/>
              <a:t>Fifth lev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2D62C7E-36C2-CF50-074B-6EF09363533A}"/>
              </a:ext>
            </a:extLst>
          </p:cNvPr>
          <p:cNvCxnSpPr>
            <a:cxnSpLocks/>
          </p:cNvCxnSpPr>
          <p:nvPr userDrawn="1"/>
        </p:nvCxnSpPr>
        <p:spPr>
          <a:xfrm>
            <a:off x="609602" y="1143951"/>
            <a:ext cx="170584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7" name="Picture 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6890C071-7CFC-7FB1-51E7-1DF1A1FD2E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254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E792C904-6D3F-7049-E16B-A517431BA00A}"/>
              </a:ext>
            </a:extLst>
          </p:cNvPr>
          <p:cNvGrpSpPr/>
          <p:nvPr userDrawn="1"/>
        </p:nvGrpSpPr>
        <p:grpSpPr>
          <a:xfrm>
            <a:off x="2111936" y="1946573"/>
            <a:ext cx="7994075" cy="3244839"/>
            <a:chOff x="2112828" y="2299855"/>
            <a:chExt cx="7994074" cy="3244839"/>
          </a:xfrm>
        </p:grpSpPr>
        <p:sp>
          <p:nvSpPr>
            <p:cNvPr id="16" name="Donut 1">
              <a:extLst>
                <a:ext uri="{FF2B5EF4-FFF2-40B4-BE49-F238E27FC236}">
                  <a16:creationId xmlns:a16="http://schemas.microsoft.com/office/drawing/2014/main" id="{29EAA267-F1DE-E6D7-E14F-DE04912AEB1E}"/>
                </a:ext>
              </a:extLst>
            </p:cNvPr>
            <p:cNvSpPr/>
            <p:nvPr/>
          </p:nvSpPr>
          <p:spPr>
            <a:xfrm>
              <a:off x="2112828" y="2299855"/>
              <a:ext cx="2258290" cy="2258290"/>
            </a:xfrm>
            <a:prstGeom prst="donut">
              <a:avLst/>
            </a:prstGeom>
            <a:solidFill>
              <a:srgbClr val="E46A4C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>
                <a:solidFill>
                  <a:schemeClr val="tx1"/>
                </a:solidFill>
              </a:endParaRPr>
            </a:p>
          </p:txBody>
        </p:sp>
        <p:sp>
          <p:nvSpPr>
            <p:cNvPr id="17" name="Donut 2">
              <a:extLst>
                <a:ext uri="{FF2B5EF4-FFF2-40B4-BE49-F238E27FC236}">
                  <a16:creationId xmlns:a16="http://schemas.microsoft.com/office/drawing/2014/main" id="{AAF79A26-6B45-6BAE-29DB-7B84348947F2}"/>
                </a:ext>
              </a:extLst>
            </p:cNvPr>
            <p:cNvSpPr/>
            <p:nvPr/>
          </p:nvSpPr>
          <p:spPr>
            <a:xfrm>
              <a:off x="4024756" y="2299855"/>
              <a:ext cx="2258290" cy="2258290"/>
            </a:xfrm>
            <a:prstGeom prst="donut">
              <a:avLst/>
            </a:prstGeom>
            <a:solidFill>
              <a:srgbClr val="449FD3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>
                <a:solidFill>
                  <a:schemeClr val="tx1"/>
                </a:solidFill>
              </a:endParaRPr>
            </a:p>
          </p:txBody>
        </p:sp>
        <p:sp>
          <p:nvSpPr>
            <p:cNvPr id="18" name="Donut 3">
              <a:extLst>
                <a:ext uri="{FF2B5EF4-FFF2-40B4-BE49-F238E27FC236}">
                  <a16:creationId xmlns:a16="http://schemas.microsoft.com/office/drawing/2014/main" id="{292A2CE3-9EBB-D39F-4FA3-704CEE159F80}"/>
                </a:ext>
              </a:extLst>
            </p:cNvPr>
            <p:cNvSpPr/>
            <p:nvPr/>
          </p:nvSpPr>
          <p:spPr>
            <a:xfrm>
              <a:off x="5936684" y="2299855"/>
              <a:ext cx="2258290" cy="2258290"/>
            </a:xfrm>
            <a:prstGeom prst="donut">
              <a:avLst/>
            </a:prstGeom>
            <a:solidFill>
              <a:srgbClr val="EF2745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>
                <a:solidFill>
                  <a:schemeClr val="tx1"/>
                </a:solidFill>
              </a:endParaRPr>
            </a:p>
          </p:txBody>
        </p:sp>
        <p:sp>
          <p:nvSpPr>
            <p:cNvPr id="19" name="Donut 4">
              <a:extLst>
                <a:ext uri="{FF2B5EF4-FFF2-40B4-BE49-F238E27FC236}">
                  <a16:creationId xmlns:a16="http://schemas.microsoft.com/office/drawing/2014/main" id="{F07FC13F-13EA-A422-8F4D-28D1FBE9B62C}"/>
                </a:ext>
              </a:extLst>
            </p:cNvPr>
            <p:cNvSpPr/>
            <p:nvPr/>
          </p:nvSpPr>
          <p:spPr>
            <a:xfrm>
              <a:off x="7848612" y="2299855"/>
              <a:ext cx="2258290" cy="2258290"/>
            </a:xfrm>
            <a:prstGeom prst="donut">
              <a:avLst/>
            </a:prstGeom>
            <a:solidFill>
              <a:srgbClr val="55A585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>
                <a:solidFill>
                  <a:schemeClr val="tx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F374D1B1-1B86-E296-8897-B6A1A6EA9ED0}"/>
                </a:ext>
              </a:extLst>
            </p:cNvPr>
            <p:cNvCxnSpPr>
              <a:stCxn id="16" idx="4"/>
            </p:cNvCxnSpPr>
            <p:nvPr/>
          </p:nvCxnSpPr>
          <p:spPr>
            <a:xfrm>
              <a:off x="3241973" y="4558145"/>
              <a:ext cx="13845" cy="900546"/>
            </a:xfrm>
            <a:prstGeom prst="line">
              <a:avLst/>
            </a:prstGeom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86FB087E-0C64-A923-9DCD-D3C29022BDCE}"/>
                </a:ext>
              </a:extLst>
            </p:cNvPr>
            <p:cNvCxnSpPr/>
            <p:nvPr/>
          </p:nvCxnSpPr>
          <p:spPr>
            <a:xfrm>
              <a:off x="5195464" y="4558145"/>
              <a:ext cx="13845" cy="900546"/>
            </a:xfrm>
            <a:prstGeom prst="line">
              <a:avLst/>
            </a:prstGeom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A4CA9070-7D2A-E86F-D360-2781F6EDDB48}"/>
                </a:ext>
              </a:extLst>
            </p:cNvPr>
            <p:cNvCxnSpPr/>
            <p:nvPr/>
          </p:nvCxnSpPr>
          <p:spPr>
            <a:xfrm>
              <a:off x="7135100" y="4558145"/>
              <a:ext cx="13845" cy="900546"/>
            </a:xfrm>
            <a:prstGeom prst="line">
              <a:avLst/>
            </a:prstGeom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20AC551F-57C5-2570-AF66-DB69A924132F}"/>
                </a:ext>
              </a:extLst>
            </p:cNvPr>
            <p:cNvCxnSpPr/>
            <p:nvPr/>
          </p:nvCxnSpPr>
          <p:spPr>
            <a:xfrm>
              <a:off x="9005464" y="4558145"/>
              <a:ext cx="13845" cy="900546"/>
            </a:xfrm>
            <a:prstGeom prst="line">
              <a:avLst/>
            </a:prstGeom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1CE678D1-4863-87F6-A55D-238A9A1927D0}"/>
                </a:ext>
              </a:extLst>
            </p:cNvPr>
            <p:cNvSpPr/>
            <p:nvPr/>
          </p:nvSpPr>
          <p:spPr>
            <a:xfrm>
              <a:off x="3182185" y="5384835"/>
              <a:ext cx="147711" cy="147711"/>
            </a:xfrm>
            <a:prstGeom prst="ellipse">
              <a:avLst/>
            </a:prstGeom>
            <a:solidFill>
              <a:srgbClr val="E46A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A17EF16D-9DA9-BB3E-BCD4-2ED6E28B73DF}"/>
                </a:ext>
              </a:extLst>
            </p:cNvPr>
            <p:cNvSpPr/>
            <p:nvPr/>
          </p:nvSpPr>
          <p:spPr>
            <a:xfrm>
              <a:off x="5134564" y="5396983"/>
              <a:ext cx="147711" cy="147711"/>
            </a:xfrm>
            <a:prstGeom prst="ellipse">
              <a:avLst/>
            </a:prstGeom>
            <a:solidFill>
              <a:srgbClr val="449F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2677EED-243C-1ED7-B1E7-50962E1AB24E}"/>
                </a:ext>
              </a:extLst>
            </p:cNvPr>
            <p:cNvSpPr/>
            <p:nvPr/>
          </p:nvSpPr>
          <p:spPr>
            <a:xfrm>
              <a:off x="7086943" y="5384835"/>
              <a:ext cx="147711" cy="147711"/>
            </a:xfrm>
            <a:prstGeom prst="ellipse">
              <a:avLst/>
            </a:prstGeom>
            <a:solidFill>
              <a:srgbClr val="EF27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3FF46A5-B295-BB21-9420-FA98E0BDDAA8}"/>
                </a:ext>
              </a:extLst>
            </p:cNvPr>
            <p:cNvSpPr/>
            <p:nvPr/>
          </p:nvSpPr>
          <p:spPr>
            <a:xfrm>
              <a:off x="8964577" y="5396983"/>
              <a:ext cx="147711" cy="147711"/>
            </a:xfrm>
            <a:prstGeom prst="ellipse">
              <a:avLst/>
            </a:prstGeom>
            <a:solidFill>
              <a:srgbClr val="55A58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</p:grp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74EAA7F9-BE49-8BBF-5450-9433954A5F0C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3" name="Picture 2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D681D2CB-9AFA-2460-344B-35DB73A899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E05A2E6D-CD76-FE67-0129-3C31D58B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2A059BF0-E108-CAD6-AF3F-84B0B34824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3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263F545-A849-F2DA-60F1-B41A95875CD3}"/>
              </a:ext>
            </a:extLst>
          </p:cNvPr>
          <p:cNvCxnSpPr>
            <a:cxnSpLocks/>
          </p:cNvCxnSpPr>
          <p:nvPr userDrawn="1"/>
        </p:nvCxnSpPr>
        <p:spPr>
          <a:xfrm>
            <a:off x="5243079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1682567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onut 1">
            <a:extLst>
              <a:ext uri="{FF2B5EF4-FFF2-40B4-BE49-F238E27FC236}">
                <a16:creationId xmlns:a16="http://schemas.microsoft.com/office/drawing/2014/main" id="{29EAA267-F1DE-E6D7-E14F-DE04912AEB1E}"/>
              </a:ext>
            </a:extLst>
          </p:cNvPr>
          <p:cNvSpPr/>
          <p:nvPr/>
        </p:nvSpPr>
        <p:spPr>
          <a:xfrm>
            <a:off x="2098963" y="1696266"/>
            <a:ext cx="2258291" cy="2258291"/>
          </a:xfrm>
          <a:prstGeom prst="donut">
            <a:avLst/>
          </a:prstGeom>
          <a:solidFill>
            <a:srgbClr val="E46A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17" name="Donut 2">
            <a:extLst>
              <a:ext uri="{FF2B5EF4-FFF2-40B4-BE49-F238E27FC236}">
                <a16:creationId xmlns:a16="http://schemas.microsoft.com/office/drawing/2014/main" id="{AAF79A26-6B45-6BAE-29DB-7B84348947F2}"/>
              </a:ext>
            </a:extLst>
          </p:cNvPr>
          <p:cNvSpPr/>
          <p:nvPr/>
        </p:nvSpPr>
        <p:spPr>
          <a:xfrm>
            <a:off x="4010891" y="1696266"/>
            <a:ext cx="2258291" cy="2258291"/>
          </a:xfrm>
          <a:prstGeom prst="donut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18" name="Donut 3">
            <a:extLst>
              <a:ext uri="{FF2B5EF4-FFF2-40B4-BE49-F238E27FC236}">
                <a16:creationId xmlns:a16="http://schemas.microsoft.com/office/drawing/2014/main" id="{292A2CE3-9EBB-D39F-4FA3-704CEE159F80}"/>
              </a:ext>
            </a:extLst>
          </p:cNvPr>
          <p:cNvSpPr/>
          <p:nvPr/>
        </p:nvSpPr>
        <p:spPr>
          <a:xfrm>
            <a:off x="5922819" y="1696266"/>
            <a:ext cx="2258291" cy="2258291"/>
          </a:xfrm>
          <a:prstGeom prst="donut">
            <a:avLst/>
          </a:prstGeom>
          <a:solidFill>
            <a:schemeClr val="accent5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19" name="Donut 4">
            <a:extLst>
              <a:ext uri="{FF2B5EF4-FFF2-40B4-BE49-F238E27FC236}">
                <a16:creationId xmlns:a16="http://schemas.microsoft.com/office/drawing/2014/main" id="{F07FC13F-13EA-A422-8F4D-28D1FBE9B62C}"/>
              </a:ext>
            </a:extLst>
          </p:cNvPr>
          <p:cNvSpPr/>
          <p:nvPr/>
        </p:nvSpPr>
        <p:spPr>
          <a:xfrm>
            <a:off x="7834747" y="1696266"/>
            <a:ext cx="2258291" cy="2258291"/>
          </a:xfrm>
          <a:prstGeom prst="donut">
            <a:avLst/>
          </a:prstGeom>
          <a:solidFill>
            <a:schemeClr val="accent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tx1"/>
              </a:solidFill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374D1B1-1B86-E296-8897-B6A1A6EA9ED0}"/>
              </a:ext>
            </a:extLst>
          </p:cNvPr>
          <p:cNvCxnSpPr>
            <a:cxnSpLocks/>
          </p:cNvCxnSpPr>
          <p:nvPr/>
        </p:nvCxnSpPr>
        <p:spPr>
          <a:xfrm>
            <a:off x="3221187" y="3954557"/>
            <a:ext cx="13845" cy="4572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6FB087E-0C64-A923-9DCD-D3C29022BDCE}"/>
              </a:ext>
            </a:extLst>
          </p:cNvPr>
          <p:cNvCxnSpPr>
            <a:cxnSpLocks/>
          </p:cNvCxnSpPr>
          <p:nvPr/>
        </p:nvCxnSpPr>
        <p:spPr>
          <a:xfrm>
            <a:off x="5133115" y="3954557"/>
            <a:ext cx="13845" cy="4572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4CA9070-7D2A-E86F-D360-2781F6EDDB48}"/>
              </a:ext>
            </a:extLst>
          </p:cNvPr>
          <p:cNvCxnSpPr>
            <a:cxnSpLocks/>
          </p:cNvCxnSpPr>
          <p:nvPr/>
        </p:nvCxnSpPr>
        <p:spPr>
          <a:xfrm>
            <a:off x="7045043" y="3954557"/>
            <a:ext cx="13845" cy="4572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0AC551F-57C5-2570-AF66-DB69A924132F}"/>
              </a:ext>
            </a:extLst>
          </p:cNvPr>
          <p:cNvCxnSpPr>
            <a:cxnSpLocks/>
          </p:cNvCxnSpPr>
          <p:nvPr/>
        </p:nvCxnSpPr>
        <p:spPr>
          <a:xfrm>
            <a:off x="8956971" y="3954557"/>
            <a:ext cx="13845" cy="4572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4" name="Oval 23">
            <a:extLst>
              <a:ext uri="{FF2B5EF4-FFF2-40B4-BE49-F238E27FC236}">
                <a16:creationId xmlns:a16="http://schemas.microsoft.com/office/drawing/2014/main" id="{1CE678D1-4863-87F6-A55D-238A9A1927D0}"/>
              </a:ext>
            </a:extLst>
          </p:cNvPr>
          <p:cNvSpPr/>
          <p:nvPr/>
        </p:nvSpPr>
        <p:spPr>
          <a:xfrm>
            <a:off x="3154254" y="4360258"/>
            <a:ext cx="147711" cy="147711"/>
          </a:xfrm>
          <a:prstGeom prst="ellipse">
            <a:avLst/>
          </a:prstGeom>
          <a:solidFill>
            <a:srgbClr val="E46A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A17EF16D-9DA9-BB3E-BCD4-2ED6E28B73DF}"/>
              </a:ext>
            </a:extLst>
          </p:cNvPr>
          <p:cNvSpPr/>
          <p:nvPr/>
        </p:nvSpPr>
        <p:spPr>
          <a:xfrm>
            <a:off x="5066182" y="4360258"/>
            <a:ext cx="147711" cy="14771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92677EED-243C-1ED7-B1E7-50962E1AB24E}"/>
              </a:ext>
            </a:extLst>
          </p:cNvPr>
          <p:cNvSpPr/>
          <p:nvPr/>
        </p:nvSpPr>
        <p:spPr>
          <a:xfrm>
            <a:off x="6978110" y="4360258"/>
            <a:ext cx="147711" cy="14771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43FF46A5-B295-BB21-9420-FA98E0BDDAA8}"/>
              </a:ext>
            </a:extLst>
          </p:cNvPr>
          <p:cNvSpPr/>
          <p:nvPr/>
        </p:nvSpPr>
        <p:spPr>
          <a:xfrm>
            <a:off x="8890038" y="4360258"/>
            <a:ext cx="147711" cy="14771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7DB50A8-040E-7AE9-175B-48D79F9B4CB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AEBB24CA-DD74-90EA-27C9-C8838B60A7D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09600" y="989733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73BE879-7F4F-AE2A-9F54-B56E3A88AF89}"/>
              </a:ext>
            </a:extLst>
          </p:cNvPr>
          <p:cNvCxnSpPr>
            <a:cxnSpLocks/>
          </p:cNvCxnSpPr>
          <p:nvPr userDrawn="1"/>
        </p:nvCxnSpPr>
        <p:spPr>
          <a:xfrm>
            <a:off x="5243079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FBAC93B0-44BB-06C0-F404-B1BBAA32851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310274" y="4544109"/>
            <a:ext cx="18356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3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806DAFEA-12BD-C23D-64E9-BEA4BF231A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2202" y="4544109"/>
            <a:ext cx="18356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4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9BEAC6FB-65A2-F87E-9655-263755164D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34130" y="4544109"/>
            <a:ext cx="18356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5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0DA26839-A8C5-D4A2-1AF7-8BFCF47838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46058" y="4544109"/>
            <a:ext cx="18356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2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2C4CC46-15A3-871F-9574-C7339763D857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9" name="Picture 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136ACC0C-B530-0AC6-BFBC-EC3F3D3EC7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326490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ED5A6D23-8728-CF79-6790-BB825F24CBA8}"/>
              </a:ext>
            </a:extLst>
          </p:cNvPr>
          <p:cNvGrpSpPr/>
          <p:nvPr userDrawn="1"/>
        </p:nvGrpSpPr>
        <p:grpSpPr>
          <a:xfrm>
            <a:off x="2608293" y="1679353"/>
            <a:ext cx="6975417" cy="3224635"/>
            <a:chOff x="2098962" y="1696272"/>
            <a:chExt cx="6082145" cy="2811698"/>
          </a:xfrm>
        </p:grpSpPr>
        <p:sp>
          <p:nvSpPr>
            <p:cNvPr id="16" name="Donut 1">
              <a:extLst>
                <a:ext uri="{FF2B5EF4-FFF2-40B4-BE49-F238E27FC236}">
                  <a16:creationId xmlns:a16="http://schemas.microsoft.com/office/drawing/2014/main" id="{29EAA267-F1DE-E6D7-E14F-DE04912AEB1E}"/>
                </a:ext>
              </a:extLst>
            </p:cNvPr>
            <p:cNvSpPr/>
            <p:nvPr/>
          </p:nvSpPr>
          <p:spPr>
            <a:xfrm>
              <a:off x="2098962" y="1696273"/>
              <a:ext cx="2258290" cy="2258298"/>
            </a:xfrm>
            <a:prstGeom prst="donut">
              <a:avLst/>
            </a:prstGeom>
            <a:solidFill>
              <a:schemeClr val="accent4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>
                <a:solidFill>
                  <a:schemeClr val="tx1"/>
                </a:solidFill>
              </a:endParaRPr>
            </a:p>
          </p:txBody>
        </p:sp>
        <p:sp>
          <p:nvSpPr>
            <p:cNvPr id="17" name="Donut 2">
              <a:extLst>
                <a:ext uri="{FF2B5EF4-FFF2-40B4-BE49-F238E27FC236}">
                  <a16:creationId xmlns:a16="http://schemas.microsoft.com/office/drawing/2014/main" id="{AAF79A26-6B45-6BAE-29DB-7B84348947F2}"/>
                </a:ext>
              </a:extLst>
            </p:cNvPr>
            <p:cNvSpPr/>
            <p:nvPr/>
          </p:nvSpPr>
          <p:spPr>
            <a:xfrm>
              <a:off x="4010890" y="1696273"/>
              <a:ext cx="2258290" cy="2258298"/>
            </a:xfrm>
            <a:prstGeom prst="donut">
              <a:avLst/>
            </a:prstGeom>
            <a:solidFill>
              <a:srgbClr val="449FD3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>
                <a:solidFill>
                  <a:schemeClr val="tx1"/>
                </a:solidFill>
              </a:endParaRPr>
            </a:p>
          </p:txBody>
        </p:sp>
        <p:sp>
          <p:nvSpPr>
            <p:cNvPr id="18" name="Donut 3">
              <a:extLst>
                <a:ext uri="{FF2B5EF4-FFF2-40B4-BE49-F238E27FC236}">
                  <a16:creationId xmlns:a16="http://schemas.microsoft.com/office/drawing/2014/main" id="{292A2CE3-9EBB-D39F-4FA3-704CEE159F80}"/>
                </a:ext>
              </a:extLst>
            </p:cNvPr>
            <p:cNvSpPr/>
            <p:nvPr/>
          </p:nvSpPr>
          <p:spPr>
            <a:xfrm>
              <a:off x="5922817" y="1696272"/>
              <a:ext cx="2258290" cy="2258297"/>
            </a:xfrm>
            <a:prstGeom prst="donut">
              <a:avLst/>
            </a:prstGeom>
            <a:solidFill>
              <a:srgbClr val="EF2745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>
                <a:solidFill>
                  <a:schemeClr val="tx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F374D1B1-1B86-E296-8897-B6A1A6EA9ED0}"/>
                </a:ext>
              </a:extLst>
            </p:cNvPr>
            <p:cNvCxnSpPr>
              <a:cxnSpLocks/>
            </p:cNvCxnSpPr>
            <p:nvPr/>
          </p:nvCxnSpPr>
          <p:spPr>
            <a:xfrm>
              <a:off x="3221185" y="3954570"/>
              <a:ext cx="13845" cy="457202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86FB087E-0C64-A923-9DCD-D3C29022BDCE}"/>
                </a:ext>
              </a:extLst>
            </p:cNvPr>
            <p:cNvCxnSpPr>
              <a:cxnSpLocks/>
            </p:cNvCxnSpPr>
            <p:nvPr/>
          </p:nvCxnSpPr>
          <p:spPr>
            <a:xfrm>
              <a:off x="5133113" y="3954570"/>
              <a:ext cx="13845" cy="457202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A4CA9070-7D2A-E86F-D360-2781F6EDDB48}"/>
                </a:ext>
              </a:extLst>
            </p:cNvPr>
            <p:cNvCxnSpPr>
              <a:cxnSpLocks/>
            </p:cNvCxnSpPr>
            <p:nvPr/>
          </p:nvCxnSpPr>
          <p:spPr>
            <a:xfrm>
              <a:off x="7045040" y="3954567"/>
              <a:ext cx="13845" cy="457201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1CE678D1-4863-87F6-A55D-238A9A1927D0}"/>
                </a:ext>
              </a:extLst>
            </p:cNvPr>
            <p:cNvSpPr/>
            <p:nvPr/>
          </p:nvSpPr>
          <p:spPr>
            <a:xfrm>
              <a:off x="3154252" y="4360259"/>
              <a:ext cx="147711" cy="14771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A17EF16D-9DA9-BB3E-BCD4-2ED6E28B73DF}"/>
                </a:ext>
              </a:extLst>
            </p:cNvPr>
            <p:cNvSpPr/>
            <p:nvPr/>
          </p:nvSpPr>
          <p:spPr>
            <a:xfrm>
              <a:off x="5066181" y="4360256"/>
              <a:ext cx="147711" cy="147711"/>
            </a:xfrm>
            <a:prstGeom prst="ellipse">
              <a:avLst/>
            </a:prstGeom>
            <a:solidFill>
              <a:srgbClr val="449F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2677EED-243C-1ED7-B1E7-50962E1AB24E}"/>
                </a:ext>
              </a:extLst>
            </p:cNvPr>
            <p:cNvSpPr/>
            <p:nvPr/>
          </p:nvSpPr>
          <p:spPr>
            <a:xfrm>
              <a:off x="6978109" y="4360257"/>
              <a:ext cx="147711" cy="147711"/>
            </a:xfrm>
            <a:prstGeom prst="ellipse">
              <a:avLst/>
            </a:prstGeom>
            <a:solidFill>
              <a:srgbClr val="EF27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67DB50A8-040E-7AE9-175B-48D79F9B4CB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AEBB24CA-DD74-90EA-27C9-C8838B60A7D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09600" y="989733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73BE879-7F4F-AE2A-9F54-B56E3A88AF89}"/>
              </a:ext>
            </a:extLst>
          </p:cNvPr>
          <p:cNvCxnSpPr>
            <a:cxnSpLocks/>
          </p:cNvCxnSpPr>
          <p:nvPr userDrawn="1"/>
        </p:nvCxnSpPr>
        <p:spPr>
          <a:xfrm>
            <a:off x="5243079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FBAC93B0-44BB-06C0-F404-B1BBAA32851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92257" y="5073502"/>
            <a:ext cx="2019239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4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806DAFEA-12BD-C23D-64E9-BEA4BF231A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80914" y="5073502"/>
            <a:ext cx="2019239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5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9BEAC6FB-65A2-F87E-9655-263755164D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69566" y="5073502"/>
            <a:ext cx="2019239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2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3010DD8-3A01-BF0F-C090-BCB252E0B449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0" name="Picture 9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2C856F2-B8AE-7601-0A2A-EE5CEF86D4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96284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43553D30-4766-529D-2173-BEC6BE0F8F99}"/>
              </a:ext>
            </a:extLst>
          </p:cNvPr>
          <p:cNvGrpSpPr/>
          <p:nvPr userDrawn="1"/>
        </p:nvGrpSpPr>
        <p:grpSpPr>
          <a:xfrm>
            <a:off x="743204" y="1937591"/>
            <a:ext cx="10702221" cy="2106109"/>
            <a:chOff x="2178142" y="3414075"/>
            <a:chExt cx="7393944" cy="1600574"/>
          </a:xfrm>
        </p:grpSpPr>
        <p:sp>
          <p:nvSpPr>
            <p:cNvPr id="4" name="Arc 3">
              <a:extLst>
                <a:ext uri="{FF2B5EF4-FFF2-40B4-BE49-F238E27FC236}">
                  <a16:creationId xmlns:a16="http://schemas.microsoft.com/office/drawing/2014/main" id="{D2CE1FB9-9EB5-C3D4-4955-138C2129B7B7}"/>
                </a:ext>
              </a:extLst>
            </p:cNvPr>
            <p:cNvSpPr/>
            <p:nvPr userDrawn="1"/>
          </p:nvSpPr>
          <p:spPr>
            <a:xfrm rot="5400000">
              <a:off x="2118284" y="3473933"/>
              <a:ext cx="1600574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B20E7215-898F-DCB1-C639-0A72F79D5029}"/>
                </a:ext>
              </a:extLst>
            </p:cNvPr>
            <p:cNvSpPr/>
            <p:nvPr userDrawn="1"/>
          </p:nvSpPr>
          <p:spPr>
            <a:xfrm>
              <a:off x="2417087" y="3690561"/>
              <a:ext cx="982292" cy="1044969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89AA68E-2CAC-D2A9-7F5F-F0B55C31EC14}"/>
                </a:ext>
              </a:extLst>
            </p:cNvPr>
            <p:cNvSpPr/>
            <p:nvPr userDrawn="1"/>
          </p:nvSpPr>
          <p:spPr>
            <a:xfrm>
              <a:off x="2564649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8" name="Arc 7">
              <a:extLst>
                <a:ext uri="{FF2B5EF4-FFF2-40B4-BE49-F238E27FC236}">
                  <a16:creationId xmlns:a16="http://schemas.microsoft.com/office/drawing/2014/main" id="{E8AC7485-3873-CB04-C612-18FDD56DFAC0}"/>
                </a:ext>
              </a:extLst>
            </p:cNvPr>
            <p:cNvSpPr/>
            <p:nvPr userDrawn="1"/>
          </p:nvSpPr>
          <p:spPr>
            <a:xfrm rot="16200000" flipV="1">
              <a:off x="3601416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BE0B488-C312-D0A6-99DD-92A9DF4CF6D7}"/>
                </a:ext>
              </a:extLst>
            </p:cNvPr>
            <p:cNvSpPr/>
            <p:nvPr userDrawn="1"/>
          </p:nvSpPr>
          <p:spPr>
            <a:xfrm>
              <a:off x="3897944" y="3690561"/>
              <a:ext cx="982292" cy="1044969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B006BF5-7484-B530-2D9A-D7E9F2FE5FC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045506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1" name="Arc 10">
              <a:extLst>
                <a:ext uri="{FF2B5EF4-FFF2-40B4-BE49-F238E27FC236}">
                  <a16:creationId xmlns:a16="http://schemas.microsoft.com/office/drawing/2014/main" id="{4D61BD23-0B63-7384-7F40-8D5E62211949}"/>
                </a:ext>
              </a:extLst>
            </p:cNvPr>
            <p:cNvSpPr/>
            <p:nvPr userDrawn="1"/>
          </p:nvSpPr>
          <p:spPr>
            <a:xfrm rot="5400000">
              <a:off x="5082272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76AD417-6F39-EA64-1869-4FE6FA07AC1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378800" y="3690561"/>
              <a:ext cx="982292" cy="1044969"/>
            </a:xfrm>
            <a:prstGeom prst="ellipse">
              <a:avLst/>
            </a:prstGeom>
            <a:solidFill>
              <a:srgbClr val="449F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5647DECC-9C4A-9A1F-7E7C-65BA8E62E6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526362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4" name="Arc 13">
              <a:extLst>
                <a:ext uri="{FF2B5EF4-FFF2-40B4-BE49-F238E27FC236}">
                  <a16:creationId xmlns:a16="http://schemas.microsoft.com/office/drawing/2014/main" id="{EF79F630-EF63-FC32-3B93-386BA2EADEC3}"/>
                </a:ext>
              </a:extLst>
            </p:cNvPr>
            <p:cNvSpPr/>
            <p:nvPr userDrawn="1"/>
          </p:nvSpPr>
          <p:spPr>
            <a:xfrm rot="16200000" flipV="1">
              <a:off x="6563127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DA01F7-55B2-8A30-8456-1673C13E7CED}"/>
                </a:ext>
              </a:extLst>
            </p:cNvPr>
            <p:cNvSpPr/>
            <p:nvPr userDrawn="1"/>
          </p:nvSpPr>
          <p:spPr>
            <a:xfrm>
              <a:off x="6859657" y="3690561"/>
              <a:ext cx="982292" cy="1044969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18FF04E-9210-0B0D-48DA-385864CF3E9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07219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4" name="Arc 33">
              <a:extLst>
                <a:ext uri="{FF2B5EF4-FFF2-40B4-BE49-F238E27FC236}">
                  <a16:creationId xmlns:a16="http://schemas.microsoft.com/office/drawing/2014/main" id="{46838F00-7324-34FC-8EAD-DCC679C43CD9}"/>
                </a:ext>
              </a:extLst>
            </p:cNvPr>
            <p:cNvSpPr/>
            <p:nvPr userDrawn="1"/>
          </p:nvSpPr>
          <p:spPr>
            <a:xfrm rot="5400000">
              <a:off x="8043983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823FAEB6-0CB7-F579-9F26-8249FC4C9A56}"/>
                </a:ext>
              </a:extLst>
            </p:cNvPr>
            <p:cNvSpPr/>
            <p:nvPr userDrawn="1"/>
          </p:nvSpPr>
          <p:spPr>
            <a:xfrm>
              <a:off x="8340512" y="3690561"/>
              <a:ext cx="982292" cy="1044969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6BF8EC73-6666-76C6-5924-434DD4F96F3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88074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852FB09A-3665-E521-75DD-EF565E95E7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4E8F612-AD1D-9947-5B52-42C596F7B6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3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85A4E17-9555-4F25-877F-AD696DD7549F}"/>
              </a:ext>
            </a:extLst>
          </p:cNvPr>
          <p:cNvCxnSpPr>
            <a:cxnSpLocks/>
          </p:cNvCxnSpPr>
          <p:nvPr userDrawn="1"/>
        </p:nvCxnSpPr>
        <p:spPr>
          <a:xfrm>
            <a:off x="5243079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E65BBF9F-8BC0-53CF-6884-402C962A2F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48618" y="4225625"/>
            <a:ext cx="1989556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4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7FAFEDB8-AA43-300C-5F44-1212B09AE0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92055" y="4225625"/>
            <a:ext cx="1989556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5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2DEB531D-1C46-1623-980B-01D7DEC8B1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78927" y="4225625"/>
            <a:ext cx="1989556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D37A4795-9688-183E-1BA6-5547803FF2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5181" y="4225625"/>
            <a:ext cx="1989556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3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66A96AD-E374-2812-8189-6DC521AE54B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35491" y="4225625"/>
            <a:ext cx="1989556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2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93418B82-E633-FB41-8A11-9AFEC918E667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9" name="Picture 1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F178A63D-3316-BDB3-D846-E59455E2B7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4352174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43553D30-4766-529D-2173-BEC6BE0F8F99}"/>
              </a:ext>
            </a:extLst>
          </p:cNvPr>
          <p:cNvGrpSpPr/>
          <p:nvPr userDrawn="1"/>
        </p:nvGrpSpPr>
        <p:grpSpPr>
          <a:xfrm>
            <a:off x="1383895" y="1972087"/>
            <a:ext cx="9424211" cy="2319069"/>
            <a:chOff x="2178142" y="3414075"/>
            <a:chExt cx="5913088" cy="1600574"/>
          </a:xfrm>
        </p:grpSpPr>
        <p:sp>
          <p:nvSpPr>
            <p:cNvPr id="4" name="Arc 3">
              <a:extLst>
                <a:ext uri="{FF2B5EF4-FFF2-40B4-BE49-F238E27FC236}">
                  <a16:creationId xmlns:a16="http://schemas.microsoft.com/office/drawing/2014/main" id="{D2CE1FB9-9EB5-C3D4-4955-138C2129B7B7}"/>
                </a:ext>
              </a:extLst>
            </p:cNvPr>
            <p:cNvSpPr/>
            <p:nvPr userDrawn="1"/>
          </p:nvSpPr>
          <p:spPr>
            <a:xfrm rot="5400000">
              <a:off x="2118284" y="3473933"/>
              <a:ext cx="1600574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B20E7215-898F-DCB1-C639-0A72F79D5029}"/>
                </a:ext>
              </a:extLst>
            </p:cNvPr>
            <p:cNvSpPr/>
            <p:nvPr userDrawn="1"/>
          </p:nvSpPr>
          <p:spPr>
            <a:xfrm>
              <a:off x="2417087" y="3690561"/>
              <a:ext cx="982292" cy="1044969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89AA68E-2CAC-D2A9-7F5F-F0B55C31EC14}"/>
                </a:ext>
              </a:extLst>
            </p:cNvPr>
            <p:cNvSpPr/>
            <p:nvPr userDrawn="1"/>
          </p:nvSpPr>
          <p:spPr>
            <a:xfrm>
              <a:off x="2564649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8" name="Arc 7">
              <a:extLst>
                <a:ext uri="{FF2B5EF4-FFF2-40B4-BE49-F238E27FC236}">
                  <a16:creationId xmlns:a16="http://schemas.microsoft.com/office/drawing/2014/main" id="{E8AC7485-3873-CB04-C612-18FDD56DFAC0}"/>
                </a:ext>
              </a:extLst>
            </p:cNvPr>
            <p:cNvSpPr/>
            <p:nvPr userDrawn="1"/>
          </p:nvSpPr>
          <p:spPr>
            <a:xfrm rot="16200000" flipV="1">
              <a:off x="3601416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BE0B488-C312-D0A6-99DD-92A9DF4CF6D7}"/>
                </a:ext>
              </a:extLst>
            </p:cNvPr>
            <p:cNvSpPr/>
            <p:nvPr userDrawn="1"/>
          </p:nvSpPr>
          <p:spPr>
            <a:xfrm>
              <a:off x="3897944" y="3690561"/>
              <a:ext cx="982292" cy="1044969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B006BF5-7484-B530-2D9A-D7E9F2FE5FC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045506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1" name="Arc 10">
              <a:extLst>
                <a:ext uri="{FF2B5EF4-FFF2-40B4-BE49-F238E27FC236}">
                  <a16:creationId xmlns:a16="http://schemas.microsoft.com/office/drawing/2014/main" id="{4D61BD23-0B63-7384-7F40-8D5E62211949}"/>
                </a:ext>
              </a:extLst>
            </p:cNvPr>
            <p:cNvSpPr/>
            <p:nvPr userDrawn="1"/>
          </p:nvSpPr>
          <p:spPr>
            <a:xfrm rot="5400000">
              <a:off x="5082272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76AD417-6F39-EA64-1869-4FE6FA07AC1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378800" y="3690561"/>
              <a:ext cx="982292" cy="1044969"/>
            </a:xfrm>
            <a:prstGeom prst="ellipse">
              <a:avLst/>
            </a:prstGeom>
            <a:solidFill>
              <a:srgbClr val="449F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5647DECC-9C4A-9A1F-7E7C-65BA8E62E6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526362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4" name="Arc 13">
              <a:extLst>
                <a:ext uri="{FF2B5EF4-FFF2-40B4-BE49-F238E27FC236}">
                  <a16:creationId xmlns:a16="http://schemas.microsoft.com/office/drawing/2014/main" id="{EF79F630-EF63-FC32-3B93-386BA2EADEC3}"/>
                </a:ext>
              </a:extLst>
            </p:cNvPr>
            <p:cNvSpPr/>
            <p:nvPr userDrawn="1"/>
          </p:nvSpPr>
          <p:spPr>
            <a:xfrm rot="16200000" flipV="1">
              <a:off x="6563127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DA01F7-55B2-8A30-8456-1673C13E7CED}"/>
                </a:ext>
              </a:extLst>
            </p:cNvPr>
            <p:cNvSpPr/>
            <p:nvPr userDrawn="1"/>
          </p:nvSpPr>
          <p:spPr>
            <a:xfrm>
              <a:off x="6859657" y="3690561"/>
              <a:ext cx="982292" cy="1044969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18FF04E-9210-0B0D-48DA-385864CF3E9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07219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852FB09A-3665-E521-75DD-EF565E95E7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4E8F612-AD1D-9947-5B52-42C596F7B6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3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85A4E17-9555-4F25-877F-AD696DD7549F}"/>
              </a:ext>
            </a:extLst>
          </p:cNvPr>
          <p:cNvCxnSpPr>
            <a:cxnSpLocks/>
          </p:cNvCxnSpPr>
          <p:nvPr userDrawn="1"/>
        </p:nvCxnSpPr>
        <p:spPr>
          <a:xfrm>
            <a:off x="5243079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BA05FBE1-E192-8609-18C7-D5E8756848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3419" y="4454229"/>
            <a:ext cx="2188512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4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417F820B-E215-6D9B-1885-019BC71A05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73591" y="4454229"/>
            <a:ext cx="2188512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5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9D99BD18-4F33-6B86-00A9-4AC73C2D69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33763" y="4454228"/>
            <a:ext cx="2188512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2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C8A9BB75-6A32-32B1-EE01-685F696C893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53247" y="4451141"/>
            <a:ext cx="2188512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3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A98C8EC-1098-E539-62D0-97ECC806DAF7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21" name="Picture 20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E4E2C584-528A-0A2B-29EF-F53909F66C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792734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43553D30-4766-529D-2173-BEC6BE0F8F99}"/>
              </a:ext>
            </a:extLst>
          </p:cNvPr>
          <p:cNvGrpSpPr/>
          <p:nvPr userDrawn="1"/>
        </p:nvGrpSpPr>
        <p:grpSpPr>
          <a:xfrm>
            <a:off x="1806403" y="1772317"/>
            <a:ext cx="8579195" cy="2816483"/>
            <a:chOff x="2178142" y="3414075"/>
            <a:chExt cx="4432233" cy="1600574"/>
          </a:xfrm>
        </p:grpSpPr>
        <p:sp>
          <p:nvSpPr>
            <p:cNvPr id="4" name="Arc 3">
              <a:extLst>
                <a:ext uri="{FF2B5EF4-FFF2-40B4-BE49-F238E27FC236}">
                  <a16:creationId xmlns:a16="http://schemas.microsoft.com/office/drawing/2014/main" id="{D2CE1FB9-9EB5-C3D4-4955-138C2129B7B7}"/>
                </a:ext>
              </a:extLst>
            </p:cNvPr>
            <p:cNvSpPr/>
            <p:nvPr userDrawn="1"/>
          </p:nvSpPr>
          <p:spPr>
            <a:xfrm rot="5400000">
              <a:off x="2118284" y="3473933"/>
              <a:ext cx="1600574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B20E7215-898F-DCB1-C639-0A72F79D5029}"/>
                </a:ext>
              </a:extLst>
            </p:cNvPr>
            <p:cNvSpPr/>
            <p:nvPr userDrawn="1"/>
          </p:nvSpPr>
          <p:spPr>
            <a:xfrm>
              <a:off x="2417087" y="3690561"/>
              <a:ext cx="982292" cy="1044969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89AA68E-2CAC-D2A9-7F5F-F0B55C31EC14}"/>
                </a:ext>
              </a:extLst>
            </p:cNvPr>
            <p:cNvSpPr/>
            <p:nvPr userDrawn="1"/>
          </p:nvSpPr>
          <p:spPr>
            <a:xfrm>
              <a:off x="2564649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8" name="Arc 7">
              <a:extLst>
                <a:ext uri="{FF2B5EF4-FFF2-40B4-BE49-F238E27FC236}">
                  <a16:creationId xmlns:a16="http://schemas.microsoft.com/office/drawing/2014/main" id="{E8AC7485-3873-CB04-C612-18FDD56DFAC0}"/>
                </a:ext>
              </a:extLst>
            </p:cNvPr>
            <p:cNvSpPr/>
            <p:nvPr userDrawn="1"/>
          </p:nvSpPr>
          <p:spPr>
            <a:xfrm rot="16200000" flipV="1">
              <a:off x="3601416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BE0B488-C312-D0A6-99DD-92A9DF4CF6D7}"/>
                </a:ext>
              </a:extLst>
            </p:cNvPr>
            <p:cNvSpPr/>
            <p:nvPr userDrawn="1"/>
          </p:nvSpPr>
          <p:spPr>
            <a:xfrm>
              <a:off x="3897944" y="3690561"/>
              <a:ext cx="982292" cy="1044969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B006BF5-7484-B530-2D9A-D7E9F2FE5FC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045506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1" name="Arc 10">
              <a:extLst>
                <a:ext uri="{FF2B5EF4-FFF2-40B4-BE49-F238E27FC236}">
                  <a16:creationId xmlns:a16="http://schemas.microsoft.com/office/drawing/2014/main" id="{4D61BD23-0B63-7384-7F40-8D5E62211949}"/>
                </a:ext>
              </a:extLst>
            </p:cNvPr>
            <p:cNvSpPr/>
            <p:nvPr userDrawn="1"/>
          </p:nvSpPr>
          <p:spPr>
            <a:xfrm rot="5400000">
              <a:off x="5082272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76AD417-6F39-EA64-1869-4FE6FA07AC1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378800" y="3690561"/>
              <a:ext cx="982292" cy="1044969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5647DECC-9C4A-9A1F-7E7C-65BA8E62E6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526362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852FB09A-3665-E521-75DD-EF565E95E7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4E8F612-AD1D-9947-5B52-42C596F7B6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3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85A4E17-9555-4F25-877F-AD696DD7549F}"/>
              </a:ext>
            </a:extLst>
          </p:cNvPr>
          <p:cNvCxnSpPr>
            <a:cxnSpLocks/>
          </p:cNvCxnSpPr>
          <p:nvPr userDrawn="1"/>
        </p:nvCxnSpPr>
        <p:spPr>
          <a:xfrm>
            <a:off x="5243079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2E118996-3477-7D5A-43AF-52BB22E97D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8345" y="4656808"/>
            <a:ext cx="2648099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2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83E400C5-1768-CCBB-D0F7-A8221C7B89C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895543" y="4656808"/>
            <a:ext cx="2648099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4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270C8C6B-E8C4-AD88-ABFD-9492DDEE2D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61944" y="4656808"/>
            <a:ext cx="2648099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5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0A4CFDD-DB25-DE1D-545B-94520304B103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4" name="Picture 1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F59A6D15-7131-A3DC-D4F1-79FBDDA66D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68194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43553D30-4766-529D-2173-BEC6BE0F8F99}"/>
              </a:ext>
            </a:extLst>
          </p:cNvPr>
          <p:cNvGrpSpPr/>
          <p:nvPr userDrawn="1"/>
        </p:nvGrpSpPr>
        <p:grpSpPr>
          <a:xfrm>
            <a:off x="1449483" y="2563926"/>
            <a:ext cx="8946672" cy="1760631"/>
            <a:chOff x="2178142" y="3414075"/>
            <a:chExt cx="7393944" cy="1600574"/>
          </a:xfrm>
        </p:grpSpPr>
        <p:sp>
          <p:nvSpPr>
            <p:cNvPr id="4" name="Arc 3">
              <a:extLst>
                <a:ext uri="{FF2B5EF4-FFF2-40B4-BE49-F238E27FC236}">
                  <a16:creationId xmlns:a16="http://schemas.microsoft.com/office/drawing/2014/main" id="{D2CE1FB9-9EB5-C3D4-4955-138C2129B7B7}"/>
                </a:ext>
              </a:extLst>
            </p:cNvPr>
            <p:cNvSpPr/>
            <p:nvPr userDrawn="1"/>
          </p:nvSpPr>
          <p:spPr>
            <a:xfrm rot="5400000">
              <a:off x="2118284" y="3473933"/>
              <a:ext cx="1600574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B20E7215-898F-DCB1-C639-0A72F79D5029}"/>
                </a:ext>
              </a:extLst>
            </p:cNvPr>
            <p:cNvSpPr/>
            <p:nvPr userDrawn="1"/>
          </p:nvSpPr>
          <p:spPr>
            <a:xfrm>
              <a:off x="2417087" y="3690561"/>
              <a:ext cx="982292" cy="1044969"/>
            </a:xfrm>
            <a:prstGeom prst="ellipse">
              <a:avLst/>
            </a:prstGeom>
            <a:solidFill>
              <a:srgbClr val="55A58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89AA68E-2CAC-D2A9-7F5F-F0B55C31EC14}"/>
                </a:ext>
              </a:extLst>
            </p:cNvPr>
            <p:cNvSpPr/>
            <p:nvPr userDrawn="1"/>
          </p:nvSpPr>
          <p:spPr>
            <a:xfrm>
              <a:off x="2564649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8" name="Arc 7">
              <a:extLst>
                <a:ext uri="{FF2B5EF4-FFF2-40B4-BE49-F238E27FC236}">
                  <a16:creationId xmlns:a16="http://schemas.microsoft.com/office/drawing/2014/main" id="{E8AC7485-3873-CB04-C612-18FDD56DFAC0}"/>
                </a:ext>
              </a:extLst>
            </p:cNvPr>
            <p:cNvSpPr/>
            <p:nvPr userDrawn="1"/>
          </p:nvSpPr>
          <p:spPr>
            <a:xfrm rot="16200000" flipV="1">
              <a:off x="3601416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BE0B488-C312-D0A6-99DD-92A9DF4CF6D7}"/>
                </a:ext>
              </a:extLst>
            </p:cNvPr>
            <p:cNvSpPr/>
            <p:nvPr userDrawn="1"/>
          </p:nvSpPr>
          <p:spPr>
            <a:xfrm>
              <a:off x="3897944" y="3690561"/>
              <a:ext cx="982292" cy="1044969"/>
            </a:xfrm>
            <a:prstGeom prst="ellipse">
              <a:avLst/>
            </a:prstGeom>
            <a:solidFill>
              <a:srgbClr val="E46A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B006BF5-7484-B530-2D9A-D7E9F2FE5FC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045506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1" name="Arc 10">
              <a:extLst>
                <a:ext uri="{FF2B5EF4-FFF2-40B4-BE49-F238E27FC236}">
                  <a16:creationId xmlns:a16="http://schemas.microsoft.com/office/drawing/2014/main" id="{4D61BD23-0B63-7384-7F40-8D5E62211949}"/>
                </a:ext>
              </a:extLst>
            </p:cNvPr>
            <p:cNvSpPr/>
            <p:nvPr userDrawn="1"/>
          </p:nvSpPr>
          <p:spPr>
            <a:xfrm rot="5400000">
              <a:off x="5082272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76AD417-6F39-EA64-1869-4FE6FA07AC1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378800" y="3690561"/>
              <a:ext cx="982292" cy="1044969"/>
            </a:xfrm>
            <a:prstGeom prst="ellipse">
              <a:avLst/>
            </a:prstGeom>
            <a:solidFill>
              <a:srgbClr val="449F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5647DECC-9C4A-9A1F-7E7C-65BA8E62E6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526362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4" name="Arc 13">
              <a:extLst>
                <a:ext uri="{FF2B5EF4-FFF2-40B4-BE49-F238E27FC236}">
                  <a16:creationId xmlns:a16="http://schemas.microsoft.com/office/drawing/2014/main" id="{EF79F630-EF63-FC32-3B93-386BA2EADEC3}"/>
                </a:ext>
              </a:extLst>
            </p:cNvPr>
            <p:cNvSpPr/>
            <p:nvPr userDrawn="1"/>
          </p:nvSpPr>
          <p:spPr>
            <a:xfrm rot="16200000" flipV="1">
              <a:off x="6563127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DA01F7-55B2-8A30-8456-1673C13E7CED}"/>
                </a:ext>
              </a:extLst>
            </p:cNvPr>
            <p:cNvSpPr/>
            <p:nvPr userDrawn="1"/>
          </p:nvSpPr>
          <p:spPr>
            <a:xfrm>
              <a:off x="6859657" y="3690561"/>
              <a:ext cx="982292" cy="1044969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18FF04E-9210-0B0D-48DA-385864CF3E9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07219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4" name="Arc 33">
              <a:extLst>
                <a:ext uri="{FF2B5EF4-FFF2-40B4-BE49-F238E27FC236}">
                  <a16:creationId xmlns:a16="http://schemas.microsoft.com/office/drawing/2014/main" id="{46838F00-7324-34FC-8EAD-DCC679C43CD9}"/>
                </a:ext>
              </a:extLst>
            </p:cNvPr>
            <p:cNvSpPr/>
            <p:nvPr userDrawn="1"/>
          </p:nvSpPr>
          <p:spPr>
            <a:xfrm rot="5400000">
              <a:off x="8043983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823FAEB6-0CB7-F579-9F26-8249FC4C9A56}"/>
                </a:ext>
              </a:extLst>
            </p:cNvPr>
            <p:cNvSpPr/>
            <p:nvPr userDrawn="1"/>
          </p:nvSpPr>
          <p:spPr>
            <a:xfrm>
              <a:off x="8340512" y="3690561"/>
              <a:ext cx="982292" cy="1044969"/>
            </a:xfrm>
            <a:prstGeom prst="ellipse">
              <a:avLst/>
            </a:prstGeom>
            <a:solidFill>
              <a:srgbClr val="EF27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6BF8EC73-6666-76C6-5924-434DD4F96F3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88074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E183DB72-F922-AD9A-DC89-95D2F4D0254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duotone>
                <a:prstClr val="black"/>
                <a:schemeClr val="accent4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727936" y="4025491"/>
              <a:ext cx="352606" cy="375105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E2ADAF83-E68E-A4C6-A104-3ECE2353CB4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duotone>
                <a:prstClr val="black"/>
                <a:schemeClr val="accent4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72704" y="3991150"/>
              <a:ext cx="411233" cy="437472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BD104B35-CCEA-4F89-479D-E50BD64781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99213" y="4024341"/>
              <a:ext cx="344327" cy="366298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09972D72-C0FF-CE54-F11F-C3663C8188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96047" y="4042860"/>
              <a:ext cx="309508" cy="329257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E2D65014-5D05-635C-1040-1BA11DA190A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48495" y="4012640"/>
              <a:ext cx="337914" cy="359475"/>
            </a:xfrm>
            <a:prstGeom prst="rect">
              <a:avLst/>
            </a:prstGeom>
          </p:spPr>
        </p:pic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AB4F4E08-C0CE-42D4-86B4-BFF3414E9A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BF296586-8738-3261-0B68-66DB62395AF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3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76D4E38-9ACC-A252-EA98-95521249C60C}"/>
              </a:ext>
            </a:extLst>
          </p:cNvPr>
          <p:cNvCxnSpPr>
            <a:cxnSpLocks/>
          </p:cNvCxnSpPr>
          <p:nvPr userDrawn="1"/>
        </p:nvCxnSpPr>
        <p:spPr>
          <a:xfrm>
            <a:off x="5243079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D0CF93A6-171A-86F3-36F9-48B4884853D4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8" name="Picture 1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0D75DB43-B958-69F6-0408-4099AB0AA64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275966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340A197-B0CF-A8C5-C319-E3D176DDB6B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11888" y="2006920"/>
            <a:ext cx="5140325" cy="44275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2B7A698-7C39-69C7-1BC3-BEEE03E8382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102376" y="2425649"/>
            <a:ext cx="4365563" cy="402999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20834D4-BB14-6549-4341-428B3646D423}"/>
              </a:ext>
            </a:extLst>
          </p:cNvPr>
          <p:cNvCxnSpPr>
            <a:cxnSpLocks/>
          </p:cNvCxnSpPr>
          <p:nvPr userDrawn="1"/>
        </p:nvCxnSpPr>
        <p:spPr>
          <a:xfrm>
            <a:off x="954706" y="3344657"/>
            <a:ext cx="4660903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80B8BC0-861A-A0E5-CE06-5E521F8D4DD3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102376" y="3857306"/>
            <a:ext cx="4365563" cy="402999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DD8EF5C-F90B-3E5D-B9BA-AF9403DDB293}"/>
              </a:ext>
            </a:extLst>
          </p:cNvPr>
          <p:cNvCxnSpPr>
            <a:cxnSpLocks/>
          </p:cNvCxnSpPr>
          <p:nvPr userDrawn="1"/>
        </p:nvCxnSpPr>
        <p:spPr>
          <a:xfrm>
            <a:off x="954706" y="4772951"/>
            <a:ext cx="4660903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14C4A0C6-C15F-C6ED-E5D0-D215D067BCB6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1102376" y="5375825"/>
            <a:ext cx="4365563" cy="402999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0944825-0D09-9DC6-AD0A-D7BCF4B3D3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7171" y="431629"/>
            <a:ext cx="10357659" cy="641799"/>
          </a:xfrm>
        </p:spPr>
        <p:txBody>
          <a:bodyPr>
            <a:normAutofit/>
          </a:bodyPr>
          <a:lstStyle>
            <a:lvl1pPr algn="ctr">
              <a:defRPr sz="32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881359CD-A82A-EE8F-DF8A-167DCF50C6B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711350" y="1329889"/>
            <a:ext cx="6769303" cy="429635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accent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9D78DC6-4E5F-EE7B-8FCD-7D078BC12E48}"/>
              </a:ext>
            </a:extLst>
          </p:cNvPr>
          <p:cNvCxnSpPr>
            <a:cxnSpLocks/>
          </p:cNvCxnSpPr>
          <p:nvPr userDrawn="1"/>
        </p:nvCxnSpPr>
        <p:spPr>
          <a:xfrm>
            <a:off x="2533131" y="1158465"/>
            <a:ext cx="712574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5553955-B082-A871-2900-7F442751D101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5" name="Picture 4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B8C67E3B-50DA-4C41-FBDC-0D1468CBB1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8310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ord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6203560" y="1409658"/>
            <a:ext cx="4062661" cy="4062661"/>
          </a:xfrm>
          <a:prstGeom prst="chord">
            <a:avLst>
              <a:gd name="adj1" fmla="val 5380442"/>
              <a:gd name="adj2" fmla="val 16200000"/>
            </a:avLst>
          </a:prstGeom>
          <a:solidFill>
            <a:schemeClr val="accent3">
              <a:alpha val="14000"/>
            </a:schemeClr>
          </a:solidFill>
          <a:ln w="3810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59" r="170"/>
          <a:stretch/>
        </p:blipFill>
        <p:spPr>
          <a:xfrm>
            <a:off x="8238562" y="0"/>
            <a:ext cx="3953438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8238563" y="0"/>
            <a:ext cx="3953437" cy="6858000"/>
          </a:xfrm>
          <a:prstGeom prst="rect">
            <a:avLst/>
          </a:prstGeom>
          <a:solidFill>
            <a:schemeClr val="accent3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F597556C-921F-8A86-4312-95EAE44E731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4087" y="1907259"/>
            <a:ext cx="5319513" cy="4354993"/>
          </a:xfrm>
        </p:spPr>
        <p:txBody>
          <a:bodyPr lIns="0" rIns="0"/>
          <a:lstStyle>
            <a:lvl1pPr marL="0" indent="0">
              <a:buNone/>
              <a:defRPr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C5E39A7-32B5-A4CA-7EB6-0CF0F105FF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366" y="312132"/>
            <a:ext cx="5318234" cy="480131"/>
          </a:xfrm>
        </p:spPr>
        <p:txBody>
          <a:bodyPr wrap="square" lIns="0" rIns="0" anchor="b">
            <a:sp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BF1C4B2-7895-8661-D5BA-28609D34E2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5366" y="989732"/>
            <a:ext cx="5318234" cy="369332"/>
          </a:xfrm>
        </p:spPr>
        <p:txBody>
          <a:bodyPr wrap="square" lIns="0" rIns="0">
            <a:spAutoFit/>
          </a:bodyPr>
          <a:lstStyle>
            <a:lvl1pPr marL="0" indent="0" algn="l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C6EDF7-A28E-CA58-E0DE-30C4A8CF1043}"/>
              </a:ext>
            </a:extLst>
          </p:cNvPr>
          <p:cNvCxnSpPr>
            <a:cxnSpLocks/>
          </p:cNvCxnSpPr>
          <p:nvPr userDrawn="1"/>
        </p:nvCxnSpPr>
        <p:spPr>
          <a:xfrm>
            <a:off x="625366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9" name="Picture 1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490E5B3-7867-69E6-A4BD-CCC34DDB077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384E2753-8378-A889-2BF7-63F1D469C15F}"/>
              </a:ext>
            </a:extLst>
          </p:cNvPr>
          <p:cNvSpPr/>
          <p:nvPr userDrawn="1"/>
        </p:nvSpPr>
        <p:spPr>
          <a:xfrm>
            <a:off x="6544606" y="1750704"/>
            <a:ext cx="3380568" cy="338056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6E5DF571-44A5-A36E-77C0-B0517DF656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88984" y="1990535"/>
            <a:ext cx="2891812" cy="2900906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98090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744">
          <p15:clr>
            <a:srgbClr val="FBAE40"/>
          </p15:clr>
        </p15:guide>
      </p15:sldGuideLst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82E749-FEF8-E73D-2734-29D7B66747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779079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A45516-F4DD-DB78-091D-0C016226BA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6613" y="2776662"/>
            <a:ext cx="5157787" cy="351091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9E2EE0C-7AB7-D9DA-3642-366610BD03F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779079"/>
            <a:ext cx="5183188" cy="823912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accent1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AA3B645-278B-5576-C216-83E7E2474EA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67787" y="2776662"/>
            <a:ext cx="5183188" cy="351091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31C8AA7-6D19-12EF-F24A-6F9F90E0AB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7171" y="431629"/>
            <a:ext cx="10357659" cy="641799"/>
          </a:xfrm>
        </p:spPr>
        <p:txBody>
          <a:bodyPr>
            <a:normAutofit/>
          </a:bodyPr>
          <a:lstStyle>
            <a:lvl1pPr algn="ctr">
              <a:defRPr sz="32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E6DB93C-62F8-3C4C-1EFD-A31568CAF0E7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298769" y="1329889"/>
            <a:ext cx="5594465" cy="429635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accent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430307C-92FD-47E7-390F-3A8BDCAC6375}"/>
              </a:ext>
            </a:extLst>
          </p:cNvPr>
          <p:cNvCxnSpPr>
            <a:cxnSpLocks/>
          </p:cNvCxnSpPr>
          <p:nvPr userDrawn="1"/>
        </p:nvCxnSpPr>
        <p:spPr>
          <a:xfrm>
            <a:off x="2533131" y="1158465"/>
            <a:ext cx="712574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C45664EF-F253-7D94-6712-B25F6837E4AA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990238A-627C-41EE-451E-43A8D7DE2E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415602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0">
            <a:extLst>
              <a:ext uri="{FF2B5EF4-FFF2-40B4-BE49-F238E27FC236}">
                <a16:creationId xmlns:a16="http://schemas.microsoft.com/office/drawing/2014/main" id="{810BDFDA-EE48-88A2-8966-9DFA17417D2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495967" y="2688489"/>
            <a:ext cx="2670148" cy="267854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or drag and drop to add a photo he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B8ADFF3-CB7C-2340-DA65-45BD32B7DA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02448" y="2689226"/>
            <a:ext cx="5579952" cy="2543175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b="1">
                <a:solidFill>
                  <a:schemeClr val="accent1"/>
                </a:solidFill>
              </a:defRPr>
            </a:lvl1pPr>
            <a:lvl2pPr marL="6351" indent="0">
              <a:lnSpc>
                <a:spcPct val="100000"/>
              </a:lnSpc>
              <a:buNone/>
              <a:tabLst/>
              <a:defRPr sz="2000">
                <a:solidFill>
                  <a:schemeClr val="accent1"/>
                </a:solidFill>
              </a:defRPr>
            </a:lvl2pPr>
            <a:lvl3pPr marL="6351" indent="0">
              <a:lnSpc>
                <a:spcPct val="100000"/>
              </a:lnSpc>
              <a:buNone/>
              <a:tabLst/>
              <a:defRPr sz="160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Title</a:t>
            </a:r>
          </a:p>
          <a:p>
            <a:pPr lvl="1"/>
            <a:r>
              <a:rPr lang="en-US"/>
              <a:t>Speaker 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3302CED5-C97E-1B02-8589-FA67515F098D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99850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B512E09-3C68-D92E-31B9-3A506A981726}"/>
              </a:ext>
            </a:extLst>
          </p:cNvPr>
          <p:cNvSpPr txBox="1"/>
          <p:nvPr userDrawn="1"/>
        </p:nvSpPr>
        <p:spPr>
          <a:xfrm>
            <a:off x="408927" y="6505104"/>
            <a:ext cx="785793" cy="2078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28572"/>
            <a:r>
              <a:rPr lang="en-US" sz="751" err="1">
                <a:solidFill>
                  <a:srgbClr val="000000">
                    <a:lumMod val="65000"/>
                    <a:lumOff val="3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icus.com</a:t>
            </a:r>
            <a:endParaRPr lang="en-US" sz="751">
              <a:solidFill>
                <a:srgbClr val="000000">
                  <a:lumMod val="65000"/>
                  <a:lumOff val="35000"/>
                </a:srgb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ABDE035-E49F-87AD-EBA1-1E78B7B2AB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439" y="6483799"/>
            <a:ext cx="215763" cy="215763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FB03FF5-B6A4-F438-24E2-161FC1CEAD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519429"/>
            <a:ext cx="10972800" cy="553998"/>
          </a:xfrm>
        </p:spPr>
        <p:txBody>
          <a:bodyPr wrap="square" anchor="b">
            <a:spAutoFit/>
          </a:bodyPr>
          <a:lstStyle>
            <a:lvl1pPr algn="ctr">
              <a:defRPr sz="3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ry to keep on one line if possib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24E48C8-3C7F-5B36-F3BC-8D3EE0E4D3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1329889"/>
            <a:ext cx="10972800" cy="400110"/>
          </a:xfrm>
        </p:spPr>
        <p:txBody>
          <a:bodyPr wrap="square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1B9182A-E540-F78D-0355-E0D08D90E33F}"/>
              </a:ext>
            </a:extLst>
          </p:cNvPr>
          <p:cNvCxnSpPr>
            <a:cxnSpLocks/>
          </p:cNvCxnSpPr>
          <p:nvPr userDrawn="1"/>
        </p:nvCxnSpPr>
        <p:spPr>
          <a:xfrm>
            <a:off x="2533131" y="1158465"/>
            <a:ext cx="712574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8276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D924CC1-F0F8-D1AD-04A1-4510503087E6}"/>
              </a:ext>
            </a:extLst>
          </p:cNvPr>
          <p:cNvSpPr/>
          <p:nvPr userDrawn="1"/>
        </p:nvSpPr>
        <p:spPr>
          <a:xfrm>
            <a:off x="838201" y="5883546"/>
            <a:ext cx="3886955" cy="3259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755"/>
            <a:endParaRPr lang="en-US" sz="1497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BA901A1-E9A8-ECDA-E608-DA3D3651535A}"/>
              </a:ext>
            </a:extLst>
          </p:cNvPr>
          <p:cNvSpPr/>
          <p:nvPr userDrawn="1"/>
        </p:nvSpPr>
        <p:spPr>
          <a:xfrm>
            <a:off x="4845869" y="5883546"/>
            <a:ext cx="3886955" cy="32591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755"/>
            <a:endParaRPr lang="en-US" sz="1497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32CD196-5FDD-3D80-583C-57FA147DD869}"/>
              </a:ext>
            </a:extLst>
          </p:cNvPr>
          <p:cNvSpPr/>
          <p:nvPr userDrawn="1"/>
        </p:nvSpPr>
        <p:spPr>
          <a:xfrm>
            <a:off x="838201" y="3324399"/>
            <a:ext cx="3886955" cy="112322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755"/>
            <a:endParaRPr lang="en-US" sz="1497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93969F4-C52A-F89F-4D0D-27167DD41F3B}"/>
              </a:ext>
            </a:extLst>
          </p:cNvPr>
          <p:cNvSpPr/>
          <p:nvPr userDrawn="1"/>
        </p:nvSpPr>
        <p:spPr>
          <a:xfrm>
            <a:off x="838201" y="4561449"/>
            <a:ext cx="3886955" cy="748425"/>
          </a:xfrm>
          <a:prstGeom prst="rect">
            <a:avLst/>
          </a:prstGeom>
          <a:solidFill>
            <a:srgbClr val="E46A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755"/>
            <a:endParaRPr lang="en-US" sz="1497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FF6F24-4A00-1158-FF7D-D82B1DEEB4EF}"/>
              </a:ext>
            </a:extLst>
          </p:cNvPr>
          <p:cNvSpPr/>
          <p:nvPr userDrawn="1"/>
        </p:nvSpPr>
        <p:spPr>
          <a:xfrm>
            <a:off x="4845869" y="3323819"/>
            <a:ext cx="3886955" cy="1123224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755"/>
            <a:endParaRPr lang="en-US" sz="1497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1FC2B62-1518-FE22-1882-16BEF7E5FEEA}"/>
              </a:ext>
            </a:extLst>
          </p:cNvPr>
          <p:cNvSpPr/>
          <p:nvPr userDrawn="1"/>
        </p:nvSpPr>
        <p:spPr>
          <a:xfrm>
            <a:off x="4845869" y="4561449"/>
            <a:ext cx="3886955" cy="7484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755"/>
            <a:endParaRPr lang="en-US" sz="1497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394BBF2-E6FB-8C7D-EC72-1A773FDF398B}"/>
              </a:ext>
            </a:extLst>
          </p:cNvPr>
          <p:cNvSpPr txBox="1"/>
          <p:nvPr userDrawn="1"/>
        </p:nvSpPr>
        <p:spPr>
          <a:xfrm>
            <a:off x="838204" y="2913452"/>
            <a:ext cx="6204641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04755"/>
            <a:r>
              <a:rPr lang="en-US" sz="1867">
                <a:solidFill>
                  <a:srgbClr val="000000"/>
                </a:solidFill>
                <a:latin typeface="Century Gothic" panose="020F0302020204030204"/>
              </a:rPr>
              <a:t>Primary Color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B97F197-529C-D460-BB78-3A9C9E026BED}"/>
              </a:ext>
            </a:extLst>
          </p:cNvPr>
          <p:cNvSpPr txBox="1"/>
          <p:nvPr userDrawn="1"/>
        </p:nvSpPr>
        <p:spPr>
          <a:xfrm>
            <a:off x="838204" y="5462815"/>
            <a:ext cx="6204641" cy="37965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304755"/>
            <a:r>
              <a:rPr lang="en-US" sz="1867">
                <a:solidFill>
                  <a:srgbClr val="000000"/>
                </a:solidFill>
                <a:latin typeface="Century Gothic" panose="020F0302020204030204"/>
              </a:rPr>
              <a:t>Secondary Colors (use sparingly)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8282C96-2F16-5DB3-C31E-9C75ECDBD8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0" y="1812411"/>
            <a:ext cx="3369733" cy="94091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5D8FBF8-7EA5-657B-1B29-7D6E4560D9C2}"/>
              </a:ext>
            </a:extLst>
          </p:cNvPr>
          <p:cNvSpPr txBox="1"/>
          <p:nvPr userDrawn="1"/>
        </p:nvSpPr>
        <p:spPr>
          <a:xfrm>
            <a:off x="4845868" y="2036647"/>
            <a:ext cx="3657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04755"/>
            <a:r>
              <a:rPr lang="en-US" sz="2400">
                <a:solidFill>
                  <a:srgbClr val="000000"/>
                </a:solidFill>
                <a:latin typeface="Century Gothic" panose="020F0302020204030204"/>
              </a:rPr>
              <a:t>Font: Century Gothic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7353C23-F8A2-CB79-3CBB-6174B722C7C6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99850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A2501D1-66FB-AE34-BC94-4A65E8248E36}"/>
              </a:ext>
            </a:extLst>
          </p:cNvPr>
          <p:cNvSpPr txBox="1"/>
          <p:nvPr userDrawn="1"/>
        </p:nvSpPr>
        <p:spPr>
          <a:xfrm>
            <a:off x="408927" y="6505104"/>
            <a:ext cx="785793" cy="2078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28572"/>
            <a:r>
              <a:rPr lang="en-US" sz="751" err="1">
                <a:solidFill>
                  <a:srgbClr val="000000">
                    <a:lumMod val="65000"/>
                    <a:lumOff val="3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icus.com</a:t>
            </a:r>
            <a:endParaRPr lang="en-US" sz="751">
              <a:solidFill>
                <a:srgbClr val="000000">
                  <a:lumMod val="65000"/>
                  <a:lumOff val="35000"/>
                </a:srgb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44B501B-2594-ABB2-5A25-CE23D81DC0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439" y="6483799"/>
            <a:ext cx="215763" cy="21576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D4CF73E-C040-D1D3-2A87-60A1C056B1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57422E6F-044F-D77D-BDC7-1429B00514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3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6DC0224-94BB-1BA0-CDAC-FA6A75F6CAD8}"/>
              </a:ext>
            </a:extLst>
          </p:cNvPr>
          <p:cNvCxnSpPr>
            <a:cxnSpLocks/>
          </p:cNvCxnSpPr>
          <p:nvPr userDrawn="1"/>
        </p:nvCxnSpPr>
        <p:spPr>
          <a:xfrm>
            <a:off x="5243079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82084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A9E98145-3076-AAFD-4ECF-446ADBDE02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029"/>
            <a:ext cx="10515600" cy="1325563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Branding </a:t>
            </a:r>
            <a:r>
              <a:rPr lang="en-US" b="0">
                <a:solidFill>
                  <a:schemeClr val="tx2"/>
                </a:solidFill>
              </a:rPr>
              <a:t>Guideline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4F371B7-BCEF-C8B3-1119-2D7639C13B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480" y="3305105"/>
            <a:ext cx="2943435" cy="60992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D093B14-3B49-ACC3-6CC9-53603C71517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1" y="4172542"/>
            <a:ext cx="3274087" cy="74548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9E2AB9ED-00DF-B83D-0A9C-D7C262A968CD}"/>
              </a:ext>
            </a:extLst>
          </p:cNvPr>
          <p:cNvSpPr txBox="1"/>
          <p:nvPr userDrawn="1"/>
        </p:nvSpPr>
        <p:spPr>
          <a:xfrm>
            <a:off x="838201" y="2284182"/>
            <a:ext cx="327408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l" defTabSz="2285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emplate Logo</a:t>
            </a:r>
          </a:p>
        </p:txBody>
      </p:sp>
    </p:spTree>
    <p:extLst>
      <p:ext uri="{BB962C8B-B14F-4D97-AF65-F5344CB8AC3E}">
        <p14:creationId xmlns:p14="http://schemas.microsoft.com/office/powerpoint/2010/main" val="4112022085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marR="0" indent="0" algn="ctr" defTabSz="91436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Drag and drop image here</a:t>
            </a:r>
          </a:p>
        </p:txBody>
      </p:sp>
    </p:spTree>
    <p:extLst>
      <p:ext uri="{BB962C8B-B14F-4D97-AF65-F5344CB8AC3E}">
        <p14:creationId xmlns:p14="http://schemas.microsoft.com/office/powerpoint/2010/main" val="2223375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-212035" y="-1765904"/>
            <a:ext cx="12404035" cy="5124965"/>
            <a:chOff x="0" y="8787280"/>
            <a:chExt cx="46816963" cy="19680105"/>
          </a:xfrm>
        </p:grpSpPr>
        <p:sp>
          <p:nvSpPr>
            <p:cNvPr id="7" name="Freeform 9"/>
            <p:cNvSpPr>
              <a:spLocks/>
            </p:cNvSpPr>
            <p:nvPr/>
          </p:nvSpPr>
          <p:spPr bwMode="auto">
            <a:xfrm>
              <a:off x="0" y="8787280"/>
              <a:ext cx="46816963" cy="19680105"/>
            </a:xfrm>
            <a:custGeom>
              <a:avLst/>
              <a:gdLst>
                <a:gd name="T0" fmla="*/ 0 w 3200"/>
                <a:gd name="T1" fmla="*/ 866 h 1341"/>
                <a:gd name="T2" fmla="*/ 0 w 3200"/>
                <a:gd name="T3" fmla="*/ 901 h 1341"/>
                <a:gd name="T4" fmla="*/ 3200 w 3200"/>
                <a:gd name="T5" fmla="*/ 1043 h 1341"/>
                <a:gd name="T6" fmla="*/ 3200 w 3200"/>
                <a:gd name="T7" fmla="*/ 785 h 1341"/>
                <a:gd name="T8" fmla="*/ 0 w 3200"/>
                <a:gd name="T9" fmla="*/ 866 h 1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00" h="1341">
                  <a:moveTo>
                    <a:pt x="0" y="866"/>
                  </a:moveTo>
                  <a:cubicBezTo>
                    <a:pt x="0" y="901"/>
                    <a:pt x="0" y="901"/>
                    <a:pt x="0" y="901"/>
                  </a:cubicBezTo>
                  <a:cubicBezTo>
                    <a:pt x="1318" y="262"/>
                    <a:pt x="2332" y="1341"/>
                    <a:pt x="3200" y="1043"/>
                  </a:cubicBezTo>
                  <a:cubicBezTo>
                    <a:pt x="3200" y="785"/>
                    <a:pt x="3200" y="785"/>
                    <a:pt x="3200" y="785"/>
                  </a:cubicBezTo>
                  <a:cubicBezTo>
                    <a:pt x="2332" y="1084"/>
                    <a:pt x="1106" y="0"/>
                    <a:pt x="0" y="866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9"/>
            </a:p>
          </p:txBody>
        </p:sp>
        <p:sp>
          <p:nvSpPr>
            <p:cNvPr id="8" name="Freeform 13"/>
            <p:cNvSpPr>
              <a:spLocks/>
            </p:cNvSpPr>
            <p:nvPr/>
          </p:nvSpPr>
          <p:spPr bwMode="auto">
            <a:xfrm>
              <a:off x="18066281" y="15584557"/>
              <a:ext cx="28034062" cy="6921158"/>
            </a:xfrm>
            <a:custGeom>
              <a:avLst/>
              <a:gdLst>
                <a:gd name="T0" fmla="*/ 0 w 1250"/>
                <a:gd name="T1" fmla="*/ 24 h 305"/>
                <a:gd name="T2" fmla="*/ 1250 w 1250"/>
                <a:gd name="T3" fmla="*/ 186 h 305"/>
                <a:gd name="T4" fmla="*/ 0 w 1250"/>
                <a:gd name="T5" fmla="*/ 24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50" h="305">
                  <a:moveTo>
                    <a:pt x="0" y="24"/>
                  </a:moveTo>
                  <a:cubicBezTo>
                    <a:pt x="389" y="21"/>
                    <a:pt x="900" y="305"/>
                    <a:pt x="1250" y="186"/>
                  </a:cubicBezTo>
                  <a:cubicBezTo>
                    <a:pt x="856" y="265"/>
                    <a:pt x="425" y="0"/>
                    <a:pt x="0" y="24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9"/>
            </a:p>
          </p:txBody>
        </p:sp>
      </p:grpSp>
      <p:sp>
        <p:nvSpPr>
          <p:cNvPr id="20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14012" y="254002"/>
            <a:ext cx="11110921" cy="48182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200" b="1" spc="133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052" y="798918"/>
            <a:ext cx="9850881" cy="377753"/>
          </a:xfrm>
        </p:spPr>
        <p:txBody>
          <a:bodyPr anchor="t">
            <a:noAutofit/>
          </a:bodyPr>
          <a:lstStyle>
            <a:lvl1pPr marL="0" marR="0" indent="0" algn="l" defTabSz="91436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spc="133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Put Your Great Subtitle Here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344677" y="6462977"/>
            <a:ext cx="635291" cy="244883"/>
          </a:xfrm>
          <a:prstGeom prst="rect">
            <a:avLst/>
          </a:prstGeom>
        </p:spPr>
        <p:txBody>
          <a:bodyPr vert="horz" lIns="60960" tIns="30480" rIns="60960" bIns="3048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7A186AE-F4AD-4FA7-9F32-F8C5D3D896FE}" type="slidenum">
              <a:rPr lang="en-US" sz="1400" b="1" smtClean="0">
                <a:latin typeface="+mj-lt"/>
              </a:rPr>
              <a:pPr algn="r"/>
              <a:t>‹#›</a:t>
            </a:fld>
            <a:endParaRPr lang="en-US" sz="1400" b="1">
              <a:latin typeface="+mj-lt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544078" y="6461077"/>
            <a:ext cx="10455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00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icus.com</a:t>
            </a:r>
            <a:endParaRPr lang="en-US" sz="100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093" y="6432673"/>
            <a:ext cx="287683" cy="287683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543986" y="1551711"/>
            <a:ext cx="11222567" cy="4396124"/>
          </a:xfrm>
        </p:spPr>
        <p:txBody>
          <a:bodyPr/>
          <a:lstStyle>
            <a:lvl1pPr marL="0" indent="0">
              <a:spcAft>
                <a:spcPts val="800"/>
              </a:spcAft>
              <a:buNone/>
              <a:defRPr/>
            </a:lvl1pPr>
            <a:lvl2pPr>
              <a:spcAft>
                <a:spcPts val="800"/>
              </a:spcAft>
              <a:defRPr/>
            </a:lvl2pPr>
            <a:lvl3pPr>
              <a:spcAft>
                <a:spcPts val="800"/>
              </a:spcAft>
              <a:defRPr/>
            </a:lvl3pPr>
            <a:lvl4pPr>
              <a:spcAft>
                <a:spcPts val="800"/>
              </a:spcAft>
              <a:defRPr/>
            </a:lvl4pPr>
            <a:lvl5pPr>
              <a:spcAft>
                <a:spcPts val="8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0772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-212035" y="-1765904"/>
            <a:ext cx="12404035" cy="5124965"/>
            <a:chOff x="0" y="8787280"/>
            <a:chExt cx="46816963" cy="19680105"/>
          </a:xfrm>
        </p:grpSpPr>
        <p:sp>
          <p:nvSpPr>
            <p:cNvPr id="7" name="Freeform 9"/>
            <p:cNvSpPr>
              <a:spLocks/>
            </p:cNvSpPr>
            <p:nvPr/>
          </p:nvSpPr>
          <p:spPr bwMode="auto">
            <a:xfrm>
              <a:off x="0" y="8787280"/>
              <a:ext cx="46816963" cy="19680105"/>
            </a:xfrm>
            <a:custGeom>
              <a:avLst/>
              <a:gdLst>
                <a:gd name="T0" fmla="*/ 0 w 3200"/>
                <a:gd name="T1" fmla="*/ 866 h 1341"/>
                <a:gd name="T2" fmla="*/ 0 w 3200"/>
                <a:gd name="T3" fmla="*/ 901 h 1341"/>
                <a:gd name="T4" fmla="*/ 3200 w 3200"/>
                <a:gd name="T5" fmla="*/ 1043 h 1341"/>
                <a:gd name="T6" fmla="*/ 3200 w 3200"/>
                <a:gd name="T7" fmla="*/ 785 h 1341"/>
                <a:gd name="T8" fmla="*/ 0 w 3200"/>
                <a:gd name="T9" fmla="*/ 866 h 1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00" h="1341">
                  <a:moveTo>
                    <a:pt x="0" y="866"/>
                  </a:moveTo>
                  <a:cubicBezTo>
                    <a:pt x="0" y="901"/>
                    <a:pt x="0" y="901"/>
                    <a:pt x="0" y="901"/>
                  </a:cubicBezTo>
                  <a:cubicBezTo>
                    <a:pt x="1318" y="262"/>
                    <a:pt x="2332" y="1341"/>
                    <a:pt x="3200" y="1043"/>
                  </a:cubicBezTo>
                  <a:cubicBezTo>
                    <a:pt x="3200" y="785"/>
                    <a:pt x="3200" y="785"/>
                    <a:pt x="3200" y="785"/>
                  </a:cubicBezTo>
                  <a:cubicBezTo>
                    <a:pt x="2332" y="1084"/>
                    <a:pt x="1106" y="0"/>
                    <a:pt x="0" y="866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9"/>
            </a:p>
          </p:txBody>
        </p:sp>
        <p:sp>
          <p:nvSpPr>
            <p:cNvPr id="8" name="Freeform 13"/>
            <p:cNvSpPr>
              <a:spLocks/>
            </p:cNvSpPr>
            <p:nvPr/>
          </p:nvSpPr>
          <p:spPr bwMode="auto">
            <a:xfrm>
              <a:off x="18066281" y="15584557"/>
              <a:ext cx="28034062" cy="6921158"/>
            </a:xfrm>
            <a:custGeom>
              <a:avLst/>
              <a:gdLst>
                <a:gd name="T0" fmla="*/ 0 w 1250"/>
                <a:gd name="T1" fmla="*/ 24 h 305"/>
                <a:gd name="T2" fmla="*/ 1250 w 1250"/>
                <a:gd name="T3" fmla="*/ 186 h 305"/>
                <a:gd name="T4" fmla="*/ 0 w 1250"/>
                <a:gd name="T5" fmla="*/ 24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50" h="305">
                  <a:moveTo>
                    <a:pt x="0" y="24"/>
                  </a:moveTo>
                  <a:cubicBezTo>
                    <a:pt x="389" y="21"/>
                    <a:pt x="900" y="305"/>
                    <a:pt x="1250" y="186"/>
                  </a:cubicBezTo>
                  <a:cubicBezTo>
                    <a:pt x="856" y="265"/>
                    <a:pt x="425" y="0"/>
                    <a:pt x="0" y="24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9"/>
            </a:p>
          </p:txBody>
        </p:sp>
      </p:grpSp>
      <p:sp>
        <p:nvSpPr>
          <p:cNvPr id="20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14012" y="254002"/>
            <a:ext cx="11110921" cy="48182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200" b="1" spc="133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052" y="798918"/>
            <a:ext cx="9850881" cy="377753"/>
          </a:xfrm>
        </p:spPr>
        <p:txBody>
          <a:bodyPr anchor="t">
            <a:noAutofit/>
          </a:bodyPr>
          <a:lstStyle>
            <a:lvl1pPr marL="0" marR="0" indent="0" algn="l" defTabSz="91436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spc="133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Put Your Great Subtitle Here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344677" y="6462977"/>
            <a:ext cx="635291" cy="244883"/>
          </a:xfrm>
          <a:prstGeom prst="rect">
            <a:avLst/>
          </a:prstGeom>
        </p:spPr>
        <p:txBody>
          <a:bodyPr vert="horz" lIns="60960" tIns="30480" rIns="60960" bIns="3048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7A186AE-F4AD-4FA7-9F32-F8C5D3D896FE}" type="slidenum">
              <a:rPr lang="en-US" sz="1400" b="1" smtClean="0">
                <a:latin typeface="+mj-lt"/>
              </a:rPr>
              <a:pPr algn="r"/>
              <a:t>‹#›</a:t>
            </a:fld>
            <a:endParaRPr lang="en-US" sz="1400" b="1">
              <a:latin typeface="+mj-lt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544078" y="6461077"/>
            <a:ext cx="10455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00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icus.com</a:t>
            </a:r>
            <a:endParaRPr lang="en-US" sz="100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093" y="6432673"/>
            <a:ext cx="287683" cy="287683"/>
          </a:xfrm>
          <a:prstGeom prst="rect">
            <a:avLst/>
          </a:prstGeom>
        </p:spPr>
      </p:pic>
      <p:sp>
        <p:nvSpPr>
          <p:cNvPr id="9" name="Table Placeholder 8">
            <a:extLst>
              <a:ext uri="{FF2B5EF4-FFF2-40B4-BE49-F238E27FC236}">
                <a16:creationId xmlns:a16="http://schemas.microsoft.com/office/drawing/2014/main" id="{25F38799-EB2A-2943-9FE8-C4B717F1C0C8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1066870" y="1694299"/>
            <a:ext cx="9681633" cy="438727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173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8E2F7EE-7709-35BA-E127-C50BC1009EB5}"/>
              </a:ext>
            </a:extLst>
          </p:cNvPr>
          <p:cNvGrpSpPr/>
          <p:nvPr userDrawn="1"/>
        </p:nvGrpSpPr>
        <p:grpSpPr>
          <a:xfrm>
            <a:off x="7392511" y="-3678194"/>
            <a:ext cx="5720108" cy="5720108"/>
            <a:chOff x="105150" y="-3122465"/>
            <a:chExt cx="5720108" cy="5720108"/>
          </a:xfrm>
        </p:grpSpPr>
        <p:sp>
          <p:nvSpPr>
            <p:cNvPr id="13" name="Chord 12">
              <a:extLst>
                <a:ext uri="{FF2B5EF4-FFF2-40B4-BE49-F238E27FC236}">
                  <a16:creationId xmlns:a16="http://schemas.microsoft.com/office/drawing/2014/main" id="{CFC3B866-3DF5-6AE9-F330-2CEFF3126B8E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972540"/>
                <a:gd name="adj2" fmla="val 988089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7" name="Chord 16">
              <a:extLst>
                <a:ext uri="{FF2B5EF4-FFF2-40B4-BE49-F238E27FC236}">
                  <a16:creationId xmlns:a16="http://schemas.microsoft.com/office/drawing/2014/main" id="{77547FDB-7552-1776-A57C-6D2898A85D30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171149"/>
                <a:gd name="adj2" fmla="val 959543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8" name="Chord 17">
              <a:extLst>
                <a:ext uri="{FF2B5EF4-FFF2-40B4-BE49-F238E27FC236}">
                  <a16:creationId xmlns:a16="http://schemas.microsoft.com/office/drawing/2014/main" id="{8E1EBB78-23CA-495F-E7D4-052BBA798DA1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517033"/>
                <a:gd name="adj2" fmla="val 9345714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0A24EED9-4ADC-C399-7382-301E46A0CC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913" y="179007"/>
            <a:ext cx="11796171" cy="502766"/>
          </a:xfrm>
        </p:spPr>
        <p:txBody>
          <a:bodyPr wrap="square" lIns="0" rIns="0" anchor="b">
            <a:spAutoFit/>
          </a:bodyPr>
          <a:lstStyle>
            <a:lvl1pPr algn="l">
              <a:defRPr sz="2667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F5CDCDF-0943-B2E8-8886-A788DF7179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97913" y="694302"/>
            <a:ext cx="11796171" cy="338554"/>
          </a:xfrm>
        </p:spPr>
        <p:txBody>
          <a:bodyPr wrap="square" lIns="0" rIns="0">
            <a:spAutoFit/>
          </a:bodyPr>
          <a:lstStyle>
            <a:lvl1pPr marL="0" indent="0" algn="l">
              <a:buNone/>
              <a:defRPr sz="1600" i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2FA1AA87-ED82-9197-6BF3-32B0F8579B01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5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24" name="Picture 2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78CA3334-FFDD-A2BC-1614-72E1172369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9"/>
            <a:ext cx="1280160" cy="26533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911B165-E62D-38D0-B0E3-A5ABF8702EB3}"/>
              </a:ext>
            </a:extLst>
          </p:cNvPr>
          <p:cNvSpPr txBox="1"/>
          <p:nvPr userDrawn="1"/>
        </p:nvSpPr>
        <p:spPr>
          <a:xfrm>
            <a:off x="9326875" y="6529057"/>
            <a:ext cx="232822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800" i="0">
                <a:solidFill>
                  <a:schemeClr val="bg2">
                    <a:lumMod val="50000"/>
                  </a:schemeClr>
                </a:solidFill>
              </a:rPr>
              <a:t>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3213735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45BC3A7C-BCFD-B750-7D0B-772549B1C7A6}"/>
              </a:ext>
            </a:extLst>
          </p:cNvPr>
          <p:cNvGrpSpPr/>
          <p:nvPr userDrawn="1"/>
        </p:nvGrpSpPr>
        <p:grpSpPr>
          <a:xfrm rot="10800000">
            <a:off x="155947" y="4802440"/>
            <a:ext cx="6709295" cy="6709295"/>
            <a:chOff x="105150" y="-3122465"/>
            <a:chExt cx="5720108" cy="5720108"/>
          </a:xfrm>
        </p:grpSpPr>
        <p:sp>
          <p:nvSpPr>
            <p:cNvPr id="12" name="Chord 11">
              <a:extLst>
                <a:ext uri="{FF2B5EF4-FFF2-40B4-BE49-F238E27FC236}">
                  <a16:creationId xmlns:a16="http://schemas.microsoft.com/office/drawing/2014/main" id="{B6B36A70-6BBD-CDF2-9148-1821145FB7A1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099984"/>
                <a:gd name="adj2" fmla="val 9758148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6" name="Chord 15">
              <a:extLst>
                <a:ext uri="{FF2B5EF4-FFF2-40B4-BE49-F238E27FC236}">
                  <a16:creationId xmlns:a16="http://schemas.microsoft.com/office/drawing/2014/main" id="{F4F61740-57BE-7A2A-1EBA-F6B143259B55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379694"/>
                <a:gd name="adj2" fmla="val 9313731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7" name="Chord 16">
              <a:extLst>
                <a:ext uri="{FF2B5EF4-FFF2-40B4-BE49-F238E27FC236}">
                  <a16:creationId xmlns:a16="http://schemas.microsoft.com/office/drawing/2014/main" id="{0B4408C5-6A2E-BDCE-74DE-31BB25DE0B20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673024"/>
                <a:gd name="adj2" fmla="val 8811419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900BB82-D5C4-DC18-EC16-D2A669E8A57A}"/>
              </a:ext>
            </a:extLst>
          </p:cNvPr>
          <p:cNvGrpSpPr/>
          <p:nvPr userDrawn="1"/>
        </p:nvGrpSpPr>
        <p:grpSpPr>
          <a:xfrm>
            <a:off x="6113029" y="-2990654"/>
            <a:ext cx="6921331" cy="6921331"/>
            <a:chOff x="105150" y="-3122465"/>
            <a:chExt cx="5720108" cy="5720108"/>
          </a:xfrm>
        </p:grpSpPr>
        <p:sp>
          <p:nvSpPr>
            <p:cNvPr id="19" name="Chord 18">
              <a:extLst>
                <a:ext uri="{FF2B5EF4-FFF2-40B4-BE49-F238E27FC236}">
                  <a16:creationId xmlns:a16="http://schemas.microsoft.com/office/drawing/2014/main" id="{6122E3AB-2C8D-5A6E-75D8-A06F1AE002C8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20867905"/>
                <a:gd name="adj2" fmla="val 11478846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0" name="Chord 19">
              <a:extLst>
                <a:ext uri="{FF2B5EF4-FFF2-40B4-BE49-F238E27FC236}">
                  <a16:creationId xmlns:a16="http://schemas.microsoft.com/office/drawing/2014/main" id="{FB49112F-E4E1-D8E7-9D3F-CC0FE7CE5E0E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0769818"/>
                <a:gd name="adj2" fmla="val 11622062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1" name="Chord 20">
              <a:extLst>
                <a:ext uri="{FF2B5EF4-FFF2-40B4-BE49-F238E27FC236}">
                  <a16:creationId xmlns:a16="http://schemas.microsoft.com/office/drawing/2014/main" id="{C31B000C-5EAC-99AD-AFAF-C8D08AACA09C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656920"/>
                <a:gd name="adj2" fmla="val 11801938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pic>
        <p:nvPicPr>
          <p:cNvPr id="10" name="Picture 9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535980FD-1B8D-F6F1-3B64-BF3D992FB2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400" y="1191703"/>
            <a:ext cx="2574333" cy="533048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578A23FB-FFD9-0F5E-9D4E-D31707400000}"/>
              </a:ext>
            </a:extLst>
          </p:cNvPr>
          <p:cNvSpPr/>
          <p:nvPr userDrawn="1"/>
        </p:nvSpPr>
        <p:spPr>
          <a:xfrm>
            <a:off x="624263" y="3751217"/>
            <a:ext cx="1512396" cy="73152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0473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9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6355B56A-CC40-176A-ACDD-7BFF5CE504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4056" y="4027685"/>
            <a:ext cx="6261215" cy="429635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2000"/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4BF26FE3-040B-2A0D-5CE1-29756A2F53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4427" y="2013036"/>
            <a:ext cx="6321588" cy="1606653"/>
          </a:xfrm>
        </p:spPr>
        <p:txBody>
          <a:bodyPr lIns="0" rIns="0" anchor="b">
            <a:noAutofit/>
          </a:bodyPr>
          <a:lstStyle>
            <a:lvl1pPr algn="l">
              <a:defRPr sz="3600" b="1" spc="3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88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  <p15:guide id="3" pos="384">
          <p15:clr>
            <a:srgbClr val="FBAE40"/>
          </p15:clr>
        </p15:guide>
        <p15:guide id="4" pos="9728">
          <p15:clr>
            <a:srgbClr val="FBAE40"/>
          </p15:clr>
        </p15:guide>
      </p15:sldGuideLst>
    </p:ext>
  </p:extLs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 -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50AB8BE2-3203-B29A-6549-F4662A7362DE}"/>
              </a:ext>
            </a:extLst>
          </p:cNvPr>
          <p:cNvGrpSpPr/>
          <p:nvPr userDrawn="1"/>
        </p:nvGrpSpPr>
        <p:grpSpPr>
          <a:xfrm>
            <a:off x="7392511" y="-3678194"/>
            <a:ext cx="5720108" cy="5720108"/>
            <a:chOff x="105150" y="-3122465"/>
            <a:chExt cx="5720108" cy="5720108"/>
          </a:xfrm>
        </p:grpSpPr>
        <p:sp>
          <p:nvSpPr>
            <p:cNvPr id="30" name="Chord 29">
              <a:extLst>
                <a:ext uri="{FF2B5EF4-FFF2-40B4-BE49-F238E27FC236}">
                  <a16:creationId xmlns:a16="http://schemas.microsoft.com/office/drawing/2014/main" id="{1A9E727C-B5A7-DDC4-5F65-307DD1BC2ACA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972540"/>
                <a:gd name="adj2" fmla="val 988089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1" name="Chord 30">
              <a:extLst>
                <a:ext uri="{FF2B5EF4-FFF2-40B4-BE49-F238E27FC236}">
                  <a16:creationId xmlns:a16="http://schemas.microsoft.com/office/drawing/2014/main" id="{D831F826-05DC-A9B0-1C1D-BEE636C2AB32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171149"/>
                <a:gd name="adj2" fmla="val 959543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2" name="Chord 31">
              <a:extLst>
                <a:ext uri="{FF2B5EF4-FFF2-40B4-BE49-F238E27FC236}">
                  <a16:creationId xmlns:a16="http://schemas.microsoft.com/office/drawing/2014/main" id="{4EF2C1D6-D255-62B4-D41F-19567F524BA0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517033"/>
                <a:gd name="adj2" fmla="val 9345714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E1A43A9-A101-1699-F9ED-D93E9BCFA3AA}"/>
              </a:ext>
            </a:extLst>
          </p:cNvPr>
          <p:cNvGrpSpPr/>
          <p:nvPr userDrawn="1"/>
        </p:nvGrpSpPr>
        <p:grpSpPr>
          <a:xfrm rot="10800000">
            <a:off x="-989286" y="5065531"/>
            <a:ext cx="5720108" cy="5720108"/>
            <a:chOff x="105150" y="-3122465"/>
            <a:chExt cx="5720108" cy="5720108"/>
          </a:xfrm>
        </p:grpSpPr>
        <p:sp>
          <p:nvSpPr>
            <p:cNvPr id="26" name="Chord 25">
              <a:extLst>
                <a:ext uri="{FF2B5EF4-FFF2-40B4-BE49-F238E27FC236}">
                  <a16:creationId xmlns:a16="http://schemas.microsoft.com/office/drawing/2014/main" id="{789F3800-E40C-8693-B5C5-16EDBA3B954E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215574"/>
                <a:gd name="adj2" fmla="val 9610099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7" name="Chord 26">
              <a:extLst>
                <a:ext uri="{FF2B5EF4-FFF2-40B4-BE49-F238E27FC236}">
                  <a16:creationId xmlns:a16="http://schemas.microsoft.com/office/drawing/2014/main" id="{13C2E123-3187-2B89-C07D-A1B2E77F3893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503614"/>
                <a:gd name="adj2" fmla="val 9282250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8" name="Chord 27">
              <a:extLst>
                <a:ext uri="{FF2B5EF4-FFF2-40B4-BE49-F238E27FC236}">
                  <a16:creationId xmlns:a16="http://schemas.microsoft.com/office/drawing/2014/main" id="{016E9895-16D1-6E83-FA72-F2BF6E083EC4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82273"/>
                <a:gd name="adj2" fmla="val 8808404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B5E0138-3A7C-947A-1805-6A974EDC98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5072" y="289498"/>
            <a:ext cx="11801856" cy="502766"/>
          </a:xfrm>
        </p:spPr>
        <p:txBody>
          <a:bodyPr wrap="square" lIns="0" rIns="0" anchor="b">
            <a:spAutoFit/>
          </a:bodyPr>
          <a:lstStyle>
            <a:lvl1pPr algn="l">
              <a:defRPr sz="2667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no footer – to keep one line if possib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F3D3896-21F7-E606-32AE-78C80324F0E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95072" y="989734"/>
            <a:ext cx="11801856" cy="400110"/>
          </a:xfrm>
        </p:spPr>
        <p:txBody>
          <a:bodyPr wrap="square" lIns="0" rIns="0">
            <a:spAutoFit/>
          </a:bodyPr>
          <a:lstStyle>
            <a:lvl1pPr marL="0" indent="0" algn="l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6CCFDFF-0D99-CD81-3E40-E7EA1D9C0266}"/>
              </a:ext>
            </a:extLst>
          </p:cNvPr>
          <p:cNvCxnSpPr>
            <a:cxnSpLocks/>
          </p:cNvCxnSpPr>
          <p:nvPr userDrawn="1"/>
        </p:nvCxnSpPr>
        <p:spPr>
          <a:xfrm>
            <a:off x="5243079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3ADDB7AE-A8FB-D790-7D26-84CE472C6C00}"/>
              </a:ext>
            </a:extLst>
          </p:cNvPr>
          <p:cNvSpPr txBox="1"/>
          <p:nvPr userDrawn="1"/>
        </p:nvSpPr>
        <p:spPr>
          <a:xfrm>
            <a:off x="9326875" y="6529057"/>
            <a:ext cx="232822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800" i="0">
                <a:solidFill>
                  <a:schemeClr val="bg2">
                    <a:lumMod val="50000"/>
                  </a:schemeClr>
                </a:solidFill>
              </a:rPr>
              <a:t>Confidential &amp; Proprietary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EFD2138-B961-3F3E-9CAE-C92D0658DC5E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64873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3777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ord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6203560" y="1409658"/>
            <a:ext cx="4062661" cy="4062661"/>
          </a:xfrm>
          <a:prstGeom prst="chord">
            <a:avLst>
              <a:gd name="adj1" fmla="val 5380442"/>
              <a:gd name="adj2" fmla="val 16200000"/>
            </a:avLst>
          </a:prstGeom>
          <a:solidFill>
            <a:schemeClr val="accent2">
              <a:alpha val="14000"/>
            </a:schemeClr>
          </a:solidFill>
          <a:ln w="3810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59" r="170"/>
          <a:stretch/>
        </p:blipFill>
        <p:spPr>
          <a:xfrm>
            <a:off x="8238562" y="0"/>
            <a:ext cx="3953438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8238563" y="228600"/>
            <a:ext cx="3953437" cy="6629400"/>
          </a:xfrm>
          <a:prstGeom prst="rect">
            <a:avLst/>
          </a:prstGeom>
          <a:solidFill>
            <a:schemeClr val="accent2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F597556C-921F-8A86-4312-95EAE44E731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4087" y="1907259"/>
            <a:ext cx="5319513" cy="4354993"/>
          </a:xfrm>
        </p:spPr>
        <p:txBody>
          <a:bodyPr lIns="0" rIns="0"/>
          <a:lstStyle>
            <a:lvl1pPr marL="0" indent="0">
              <a:buNone/>
              <a:defRPr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C5E39A7-32B5-A4CA-7EB6-0CF0F105FF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366" y="312132"/>
            <a:ext cx="5318234" cy="480131"/>
          </a:xfrm>
        </p:spPr>
        <p:txBody>
          <a:bodyPr wrap="square" lIns="0" rIns="0" anchor="b">
            <a:sp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BF1C4B2-7895-8661-D5BA-28609D34E2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5366" y="989732"/>
            <a:ext cx="5318234" cy="369332"/>
          </a:xfrm>
        </p:spPr>
        <p:txBody>
          <a:bodyPr wrap="square" lIns="0" rIns="0">
            <a:spAutoFit/>
          </a:bodyPr>
          <a:lstStyle>
            <a:lvl1pPr marL="0" indent="0" algn="l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C6EDF7-A28E-CA58-E0DE-30C4A8CF1043}"/>
              </a:ext>
            </a:extLst>
          </p:cNvPr>
          <p:cNvCxnSpPr>
            <a:cxnSpLocks/>
          </p:cNvCxnSpPr>
          <p:nvPr userDrawn="1"/>
        </p:nvCxnSpPr>
        <p:spPr>
          <a:xfrm>
            <a:off x="625366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9" name="Picture 1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490E5B3-7867-69E6-A4BD-CCC34DDB077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384E2753-8378-A889-2BF7-63F1D469C15F}"/>
              </a:ext>
            </a:extLst>
          </p:cNvPr>
          <p:cNvSpPr/>
          <p:nvPr userDrawn="1"/>
        </p:nvSpPr>
        <p:spPr>
          <a:xfrm>
            <a:off x="6544606" y="1750704"/>
            <a:ext cx="3380568" cy="338056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6E5DF571-44A5-A36E-77C0-B0517DF656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88984" y="1990535"/>
            <a:ext cx="2891812" cy="2900906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23053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744">
          <p15:clr>
            <a:srgbClr val="FBAE40"/>
          </p15:clr>
        </p15:guide>
      </p15:sldGuideLst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3260CAD1-232F-9E1B-B1CE-BAF97C0B0ABA}"/>
              </a:ext>
            </a:extLst>
          </p:cNvPr>
          <p:cNvSpPr/>
          <p:nvPr userDrawn="1"/>
        </p:nvSpPr>
        <p:spPr bwMode="auto">
          <a:xfrm>
            <a:off x="-3048" y="-13176"/>
            <a:ext cx="12198096" cy="687117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innerShdw blurRad="63500" dist="25400" dir="5400000">
              <a:prstClr val="black">
                <a:alpha val="12000"/>
              </a:prstClr>
            </a:inn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8241010-344D-B166-9004-8D123CAD703D}"/>
              </a:ext>
            </a:extLst>
          </p:cNvPr>
          <p:cNvCxnSpPr>
            <a:cxnSpLocks/>
          </p:cNvCxnSpPr>
          <p:nvPr userDrawn="1"/>
        </p:nvCxnSpPr>
        <p:spPr>
          <a:xfrm>
            <a:off x="5243082" y="877301"/>
            <a:ext cx="1705847" cy="0"/>
          </a:xfrm>
          <a:prstGeom prst="line">
            <a:avLst/>
          </a:prstGeom>
          <a:noFill/>
          <a:ln w="28575" cap="flat" cmpd="sng" algn="ctr">
            <a:solidFill>
              <a:srgbClr val="D51236"/>
            </a:solidFill>
            <a:prstDash val="solid"/>
            <a:miter lim="800000"/>
          </a:ln>
          <a:effectLst/>
        </p:spPr>
      </p:cxnSp>
      <p:sp>
        <p:nvSpPr>
          <p:cNvPr id="25" name="Title 24">
            <a:extLst>
              <a:ext uri="{FF2B5EF4-FFF2-40B4-BE49-F238E27FC236}">
                <a16:creationId xmlns:a16="http://schemas.microsoft.com/office/drawing/2014/main" id="{DABEA9E9-F1AF-936C-5227-D44CF8A20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312137"/>
            <a:ext cx="10820400" cy="532671"/>
          </a:xfrm>
          <a:prstGeom prst="rect">
            <a:avLst/>
          </a:prstGeom>
        </p:spPr>
        <p:txBody>
          <a:bodyPr/>
          <a:lstStyle>
            <a:lvl1pPr>
              <a:defRPr kumimoji="0" lang="en-US" sz="2800" b="1" i="0" u="none" strike="noStrike" kern="1200" cap="none" spc="0" normalizeH="0" baseline="0" dirty="0">
                <a:ln>
                  <a:noFill/>
                </a:ln>
                <a:solidFill>
                  <a:srgbClr val="363636"/>
                </a:solidFill>
                <a:effectLst/>
                <a:uLnTx/>
                <a:uFillTx/>
                <a:latin typeface="Century Gothic"/>
                <a:ea typeface="+mj-ea"/>
                <a:cs typeface="+mj-cs"/>
              </a:defRPr>
            </a:lvl1pPr>
          </a:lstStyle>
          <a:p>
            <a:pPr marL="0" marR="0" lvl="0" indent="0" algn="ctr" defTabSz="91433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81707DF2-3A84-FE13-162F-D772AD98A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5800" y="989736"/>
            <a:ext cx="10820400" cy="43565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kumimoji="0" lang="en-US" sz="2000" b="0" i="1" u="none" strike="noStrike" kern="1200" cap="none" spc="0" normalizeH="0" baseline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defRPr>
            </a:lvl1pPr>
          </a:lstStyle>
          <a:p>
            <a:pPr marL="342874" marR="0" lvl="0" indent="-342874" algn="ctr" defTabSz="91433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 Master text styles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4A578B2-71AF-1E71-D41A-CD003A582413}"/>
              </a:ext>
            </a:extLst>
          </p:cNvPr>
          <p:cNvGrpSpPr/>
          <p:nvPr userDrawn="1"/>
        </p:nvGrpSpPr>
        <p:grpSpPr>
          <a:xfrm>
            <a:off x="7392511" y="-3678194"/>
            <a:ext cx="5720108" cy="5720108"/>
            <a:chOff x="105150" y="-3122465"/>
            <a:chExt cx="5720108" cy="5720108"/>
          </a:xfrm>
        </p:grpSpPr>
        <p:sp>
          <p:nvSpPr>
            <p:cNvPr id="39" name="Chord 38">
              <a:extLst>
                <a:ext uri="{FF2B5EF4-FFF2-40B4-BE49-F238E27FC236}">
                  <a16:creationId xmlns:a16="http://schemas.microsoft.com/office/drawing/2014/main" id="{D914177F-E961-48A5-CC32-AC4E737DB165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972540"/>
                <a:gd name="adj2" fmla="val 9880895"/>
              </a:avLst>
            </a:prstGeom>
            <a:solidFill>
              <a:srgbClr val="3879AF">
                <a:alpha val="3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</a:endParaRPr>
            </a:p>
          </p:txBody>
        </p:sp>
        <p:sp>
          <p:nvSpPr>
            <p:cNvPr id="40" name="Chord 39">
              <a:extLst>
                <a:ext uri="{FF2B5EF4-FFF2-40B4-BE49-F238E27FC236}">
                  <a16:creationId xmlns:a16="http://schemas.microsoft.com/office/drawing/2014/main" id="{D62751BE-E15D-4A18-1D46-5DBAE7F9D8D0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171149"/>
                <a:gd name="adj2" fmla="val 9595435"/>
              </a:avLst>
            </a:prstGeom>
            <a:solidFill>
              <a:srgbClr val="3879AF">
                <a:alpha val="3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</a:endParaRPr>
            </a:p>
          </p:txBody>
        </p:sp>
        <p:sp>
          <p:nvSpPr>
            <p:cNvPr id="41" name="Chord 40">
              <a:extLst>
                <a:ext uri="{FF2B5EF4-FFF2-40B4-BE49-F238E27FC236}">
                  <a16:creationId xmlns:a16="http://schemas.microsoft.com/office/drawing/2014/main" id="{4ABDD544-3D77-52DE-8967-6C67BB865DE8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517033"/>
                <a:gd name="adj2" fmla="val 9345714"/>
              </a:avLst>
            </a:prstGeom>
            <a:solidFill>
              <a:srgbClr val="3879AF">
                <a:alpha val="3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02DBDF4-A515-3770-8129-3B4EEEBE5568}"/>
              </a:ext>
            </a:extLst>
          </p:cNvPr>
          <p:cNvGrpSpPr/>
          <p:nvPr userDrawn="1"/>
        </p:nvGrpSpPr>
        <p:grpSpPr>
          <a:xfrm rot="10800000">
            <a:off x="-920614" y="4980419"/>
            <a:ext cx="5720108" cy="5720108"/>
            <a:chOff x="105150" y="-3122465"/>
            <a:chExt cx="5720108" cy="5720108"/>
          </a:xfrm>
        </p:grpSpPr>
        <p:sp>
          <p:nvSpPr>
            <p:cNvPr id="43" name="Chord 42">
              <a:extLst>
                <a:ext uri="{FF2B5EF4-FFF2-40B4-BE49-F238E27FC236}">
                  <a16:creationId xmlns:a16="http://schemas.microsoft.com/office/drawing/2014/main" id="{897A065D-5A6D-8253-0688-BEF2BE2D8EAF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215574"/>
                <a:gd name="adj2" fmla="val 9610099"/>
              </a:avLst>
            </a:prstGeom>
            <a:solidFill>
              <a:srgbClr val="D51236">
                <a:alpha val="3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</a:endParaRPr>
            </a:p>
          </p:txBody>
        </p:sp>
        <p:sp>
          <p:nvSpPr>
            <p:cNvPr id="44" name="Chord 43">
              <a:extLst>
                <a:ext uri="{FF2B5EF4-FFF2-40B4-BE49-F238E27FC236}">
                  <a16:creationId xmlns:a16="http://schemas.microsoft.com/office/drawing/2014/main" id="{1DB998DE-3C27-881E-E30E-D2D5F0230A8E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503614"/>
                <a:gd name="adj2" fmla="val 9282250"/>
              </a:avLst>
            </a:prstGeom>
            <a:solidFill>
              <a:srgbClr val="D51236">
                <a:alpha val="3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</a:endParaRPr>
            </a:p>
          </p:txBody>
        </p:sp>
        <p:sp>
          <p:nvSpPr>
            <p:cNvPr id="45" name="Chord 44">
              <a:extLst>
                <a:ext uri="{FF2B5EF4-FFF2-40B4-BE49-F238E27FC236}">
                  <a16:creationId xmlns:a16="http://schemas.microsoft.com/office/drawing/2014/main" id="{26CA489C-AC3A-8CCC-04B2-ECF8DC1C9A02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38093"/>
                <a:gd name="adj2" fmla="val 8808404"/>
              </a:avLst>
            </a:prstGeom>
            <a:solidFill>
              <a:srgbClr val="D51236">
                <a:alpha val="3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7978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D2304E76-E256-52C5-FB40-A78CA129D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84385" y="368473"/>
            <a:ext cx="7098016" cy="704955"/>
          </a:xfrm>
        </p:spPr>
        <p:txBody>
          <a:bodyPr lIns="0" rIns="0" anchor="b">
            <a:normAutofit/>
          </a:bodyPr>
          <a:lstStyle>
            <a:lvl1pPr marL="0" algn="l" defTabSz="91431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3FC7BAB-2CFD-16FA-E5CE-6A8AE83209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91641" y="1241373"/>
            <a:ext cx="7090760" cy="429635"/>
          </a:xfrm>
        </p:spPr>
        <p:txBody>
          <a:bodyPr lIns="0" rIns="0">
            <a:normAutofit/>
          </a:bodyPr>
          <a:lstStyle>
            <a:lvl1pPr marL="0" indent="0" algn="l" defTabSz="9143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B0EFC8E-2D10-7A07-38EC-603E7E665B9E}"/>
              </a:ext>
            </a:extLst>
          </p:cNvPr>
          <p:cNvCxnSpPr>
            <a:cxnSpLocks/>
            <a:stCxn id="22" idx="4"/>
            <a:endCxn id="25" idx="0"/>
          </p:cNvCxnSpPr>
          <p:nvPr userDrawn="1"/>
        </p:nvCxnSpPr>
        <p:spPr>
          <a:xfrm>
            <a:off x="4469179" y="2328875"/>
            <a:ext cx="0" cy="2816305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21" name="Google Shape;323;p67">
            <a:extLst>
              <a:ext uri="{FF2B5EF4-FFF2-40B4-BE49-F238E27FC236}">
                <a16:creationId xmlns:a16="http://schemas.microsoft.com/office/drawing/2014/main" id="{F0EB2619-26EF-50E4-F6EE-782CE1906BC5}"/>
              </a:ext>
            </a:extLst>
          </p:cNvPr>
          <p:cNvSpPr txBox="1">
            <a:spLocks/>
          </p:cNvSpPr>
          <p:nvPr userDrawn="1"/>
        </p:nvSpPr>
        <p:spPr>
          <a:xfrm>
            <a:off x="4826954" y="2071348"/>
            <a:ext cx="5029555" cy="362092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34275" rIns="0" bIns="34275" rtlCol="0" anchor="t" anchorCtr="0">
            <a:noAutofit/>
          </a:bodyPr>
          <a:lstStyle>
            <a:lvl1pPr marL="342892" lvl="0" indent="-266693" algn="l" defTabSz="68579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lvl="1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8675" lvl="2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lvl="3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14457" lvl="4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7348" lvl="5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00240" lvl="6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43132" lvl="7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86023" lvl="8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1575"/>
              </a:spcAft>
              <a:buSzPts val="19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marR="0" lvl="0" indent="0" algn="l" defTabSz="68572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>
                <a:srgbClr val="787B7E"/>
              </a:buClr>
              <a:buSzPts val="2000"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WELCOME </a:t>
            </a:r>
            <a:br>
              <a:rPr kumimoji="0" lang="en-US" sz="1500" b="1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r>
              <a:rPr kumimoji="0" lang="en-US" sz="1351" b="0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Introductions</a:t>
            </a:r>
            <a:br>
              <a:rPr kumimoji="0" lang="en-US" sz="18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endParaRPr kumimoji="0" lang="en-US" sz="1800" b="0" i="0" u="none" strike="noStrike" kern="1200" cap="none" spc="4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Century Gothic" panose="020F0302020204030204"/>
              <a:ea typeface="+mn-lt"/>
              <a:cs typeface="+mn-lt"/>
            </a:endParaRPr>
          </a:p>
          <a:p>
            <a:pPr marL="0" marR="0" lvl="0" indent="0" algn="l" defTabSz="68572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EE2845"/>
              </a:buClr>
              <a:buSzPct val="85000"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YOUR PRIORITIES &amp; DESIRED OUTCOMES</a:t>
            </a:r>
            <a: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 </a:t>
            </a:r>
            <a:b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r>
              <a:rPr kumimoji="0" lang="en-US" sz="1351" b="0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Creating a shared understanding of success</a:t>
            </a:r>
            <a:b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b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endParaRPr kumimoji="0" lang="en-US" sz="1500" b="1" i="0" u="none" strike="noStrike" kern="1200" cap="none" spc="4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Century Gothic" panose="020F0302020204030204"/>
              <a:ea typeface="+mn-lt"/>
              <a:cs typeface="+mn-lt"/>
            </a:endParaRPr>
          </a:p>
          <a:p>
            <a:pPr marL="0" marR="0" lvl="0" indent="0" algn="l" defTabSz="68572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EE2845"/>
              </a:buClr>
              <a:buSzPct val="85000"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OVERVIEW OF WHAT IS POSSIBLE</a:t>
            </a:r>
            <a:b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r>
              <a:rPr kumimoji="0" lang="en-US" sz="1351" b="0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Designing a solution together</a:t>
            </a:r>
            <a:b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b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endParaRPr kumimoji="0" lang="en-US" sz="1500" b="0" i="0" u="none" strike="noStrike" kern="1200" cap="none" spc="4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Century Gothic" panose="020F0302020204030204"/>
              <a:ea typeface="+mn-lt"/>
              <a:cs typeface="+mn-lt"/>
            </a:endParaRPr>
          </a:p>
          <a:p>
            <a:pPr marL="0" marR="0" lvl="0" indent="0" algn="l" defTabSz="68572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EE2845"/>
              </a:buClr>
              <a:buSzPct val="85000"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QUESTIONS &amp; NEXT STEPS</a:t>
            </a:r>
            <a:br>
              <a:rPr kumimoji="0" lang="en-US" sz="1500" b="1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r>
              <a:rPr kumimoji="0" lang="en-US" sz="1351" b="0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Where do we go from here?</a:t>
            </a:r>
            <a:r>
              <a:rPr kumimoji="0" lang="en-US" sz="1351" b="1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 </a:t>
            </a:r>
            <a:endParaRPr kumimoji="0" lang="en-US" sz="1500" b="0" i="0" u="none" strike="noStrike" kern="1200" cap="none" spc="4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Century Gothic" panose="020F0302020204030204"/>
              <a:ea typeface="+mn-lt"/>
              <a:cs typeface="+mn-lt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C8B41C3B-D508-EC15-3E45-DA0A071D9917}"/>
              </a:ext>
            </a:extLst>
          </p:cNvPr>
          <p:cNvSpPr/>
          <p:nvPr userDrawn="1"/>
        </p:nvSpPr>
        <p:spPr>
          <a:xfrm>
            <a:off x="4394641" y="2179793"/>
            <a:ext cx="149087" cy="149087"/>
          </a:xfrm>
          <a:prstGeom prst="ellipse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22855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9F232104-0AF3-1F1C-88C7-64A8AC2B110A}"/>
              </a:ext>
            </a:extLst>
          </p:cNvPr>
          <p:cNvSpPr/>
          <p:nvPr userDrawn="1"/>
        </p:nvSpPr>
        <p:spPr>
          <a:xfrm>
            <a:off x="4394641" y="3167239"/>
            <a:ext cx="149087" cy="149087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rgbClr val="EE284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22855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AFE59FBD-2303-220D-E8FE-B141540A7668}"/>
              </a:ext>
            </a:extLst>
          </p:cNvPr>
          <p:cNvSpPr/>
          <p:nvPr userDrawn="1"/>
        </p:nvSpPr>
        <p:spPr>
          <a:xfrm>
            <a:off x="4394641" y="4154685"/>
            <a:ext cx="149087" cy="149087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rgbClr val="EE284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22855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AB774A9-80AA-81D8-034F-9F7CD11774E6}"/>
              </a:ext>
            </a:extLst>
          </p:cNvPr>
          <p:cNvSpPr/>
          <p:nvPr userDrawn="1"/>
        </p:nvSpPr>
        <p:spPr>
          <a:xfrm>
            <a:off x="4394641" y="5145185"/>
            <a:ext cx="149087" cy="149087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rgbClr val="EE284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22855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65ADAE8-D812-6A52-114E-CAC1FC7392F3}"/>
              </a:ext>
            </a:extLst>
          </p:cNvPr>
          <p:cNvCxnSpPr>
            <a:cxnSpLocks/>
          </p:cNvCxnSpPr>
          <p:nvPr userDrawn="1"/>
        </p:nvCxnSpPr>
        <p:spPr>
          <a:xfrm>
            <a:off x="4457705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F086DB0-1896-E7E6-5BFD-4A6538D2C69B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5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4" name="Picture 1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CF33704D-193C-4AA3-3C5D-B105B4026EC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9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2546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  <p15:guide id="3" pos="3744">
          <p15:clr>
            <a:srgbClr val="FBAE40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BF8D885F-F35C-1AE6-16EB-B2CED9445029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5183191" y="0"/>
            <a:ext cx="7008812" cy="6858000"/>
          </a:xfrm>
          <a:solidFill>
            <a:schemeClr val="bg2"/>
          </a:solidFill>
        </p:spPr>
        <p:txBody>
          <a:bodyPr rIns="457200" anchor="ctr">
            <a:normAutofit/>
          </a:bodyPr>
          <a:lstStyle>
            <a:lvl1pPr marL="0" indent="0" algn="r">
              <a:buNone/>
              <a:defRPr sz="2400"/>
            </a:lvl1pPr>
            <a:lvl2pPr marL="457155" indent="0">
              <a:buNone/>
              <a:defRPr sz="2800"/>
            </a:lvl2pPr>
            <a:lvl3pPr marL="914309" indent="0">
              <a:buNone/>
              <a:defRPr sz="2400"/>
            </a:lvl3pPr>
            <a:lvl4pPr marL="1371464" indent="0">
              <a:buNone/>
              <a:defRPr sz="2000"/>
            </a:lvl4pPr>
            <a:lvl5pPr marL="1828618" indent="0">
              <a:buNone/>
              <a:defRPr sz="2000"/>
            </a:lvl5pPr>
            <a:lvl6pPr marL="2285774" indent="0">
              <a:buNone/>
              <a:defRPr sz="2000"/>
            </a:lvl6pPr>
            <a:lvl7pPr marL="2742926" indent="0">
              <a:buNone/>
              <a:defRPr sz="2000"/>
            </a:lvl7pPr>
            <a:lvl8pPr marL="3200080" indent="0">
              <a:buNone/>
              <a:defRPr sz="2000"/>
            </a:lvl8pPr>
            <a:lvl9pPr marL="3657235" indent="0">
              <a:buNone/>
              <a:defRPr sz="2000"/>
            </a:lvl9pPr>
          </a:lstStyle>
          <a:p>
            <a:pPr marL="0" marR="0" lvl="0" indent="0" algn="r" defTabSz="91430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or drag and drop</a:t>
            </a:r>
          </a:p>
          <a:p>
            <a:pPr marL="0" marR="0" lvl="0" indent="0" algn="r" defTabSz="91430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 to add a photo here – </a:t>
            </a:r>
          </a:p>
          <a:p>
            <a:pPr marL="0" marR="0" lvl="0" indent="0" algn="r" defTabSz="91430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you might need to </a:t>
            </a:r>
          </a:p>
          <a:p>
            <a:pPr marL="0" marR="0" lvl="0" indent="0" algn="r" defTabSz="91430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right click and send the </a:t>
            </a:r>
          </a:p>
          <a:p>
            <a:pPr marL="0" marR="0" lvl="0" indent="0" algn="r" defTabSz="91430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 to the back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2F9673C-30C0-E03E-BA3B-21B213457EE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7507" y="4027685"/>
            <a:ext cx="6261215" cy="429635"/>
          </a:xfrm>
        </p:spPr>
        <p:txBody>
          <a:bodyPr lIns="0">
            <a:normAutofit/>
          </a:bodyPr>
          <a:lstStyle>
            <a:lvl1pPr marL="0" indent="0" algn="l">
              <a:buNone/>
              <a:defRPr sz="2000" spc="51" baseline="0"/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76E1A8A-FA41-570F-BF44-20B0D806425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6342" y="2013036"/>
            <a:ext cx="6321588" cy="1606653"/>
          </a:xfrm>
        </p:spPr>
        <p:txBody>
          <a:bodyPr lIns="0" anchor="b">
            <a:noAutofit/>
          </a:bodyPr>
          <a:lstStyle>
            <a:lvl1pPr algn="l">
              <a:defRPr sz="3600" b="1" spc="3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Add your section title here</a:t>
            </a:r>
          </a:p>
        </p:txBody>
      </p:sp>
    </p:spTree>
    <p:extLst>
      <p:ext uri="{BB962C8B-B14F-4D97-AF65-F5344CB8AC3E}">
        <p14:creationId xmlns:p14="http://schemas.microsoft.com/office/powerpoint/2010/main" val="1729879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</p15:sldGuideLst>
    </p:ext>
  </p:extLs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8761E293-D9B4-0F86-0B0B-6AA5ED2AE0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153" y="6537008"/>
            <a:ext cx="753859" cy="156096"/>
          </a:xfrm>
          <a:prstGeom prst="rect">
            <a:avLst/>
          </a:prstGeom>
        </p:spPr>
      </p:pic>
      <p:sp>
        <p:nvSpPr>
          <p:cNvPr id="2" name="Picture Placeholder 7">
            <a:extLst>
              <a:ext uri="{FF2B5EF4-FFF2-40B4-BE49-F238E27FC236}">
                <a16:creationId xmlns:a16="http://schemas.microsoft.com/office/drawing/2014/main" id="{A03CFE9E-F9D8-6915-4AB7-362C3E40825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686824" y="-222200"/>
            <a:ext cx="7302399" cy="7302399"/>
          </a:xfrm>
          <a:prstGeom prst="chord">
            <a:avLst>
              <a:gd name="adj1" fmla="val 14891008"/>
              <a:gd name="adj2" fmla="val 14728125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93DE41-638F-98F6-5536-83B2244FB78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41" y="2173549"/>
            <a:ext cx="7104207" cy="3978275"/>
          </a:xfrm>
        </p:spPr>
        <p:txBody>
          <a:bodyPr lIns="0" rIns="0"/>
          <a:lstStyle>
            <a:lvl1pPr marL="0" indent="0">
              <a:buNone/>
              <a:defRPr/>
            </a:lvl1pPr>
            <a:lvl2pPr marL="457155" indent="0">
              <a:buNone/>
              <a:defRPr/>
            </a:lvl2pPr>
            <a:lvl3pPr marL="914309" indent="0">
              <a:buNone/>
              <a:defRPr/>
            </a:lvl3pPr>
            <a:lvl4pPr marL="1371464" indent="0">
              <a:buNone/>
              <a:defRPr/>
            </a:lvl4pPr>
            <a:lvl5pPr marL="182861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88A9E8B-D116-858A-EC47-80BD6AF2BD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41" y="368473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31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6ED60761-73A6-A05D-E6E1-596B967C8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7" y="1241373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3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B13B303-9934-88D1-F879-E130155052E5}"/>
              </a:ext>
            </a:extLst>
          </p:cNvPr>
          <p:cNvCxnSpPr>
            <a:cxnSpLocks/>
          </p:cNvCxnSpPr>
          <p:nvPr userDrawn="1"/>
        </p:nvCxnSpPr>
        <p:spPr>
          <a:xfrm>
            <a:off x="4457705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9110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  <p15:guide id="3" pos="3744">
          <p15:clr>
            <a:srgbClr val="FBAE40"/>
          </p15:clr>
        </p15:guide>
      </p15:sldGuideLst>
    </p:ext>
  </p:extLs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BB1A3ACE-96EE-F4FC-E59F-1689CE09CB89}"/>
              </a:ext>
            </a:extLst>
          </p:cNvPr>
          <p:cNvSpPr/>
          <p:nvPr userDrawn="1"/>
        </p:nvSpPr>
        <p:spPr>
          <a:xfrm>
            <a:off x="-3945326" y="-502038"/>
            <a:ext cx="7890651" cy="7890651"/>
          </a:xfrm>
          <a:prstGeom prst="ellipse">
            <a:avLst/>
          </a:prstGeom>
          <a:solidFill>
            <a:schemeClr val="accent5">
              <a:alpha val="38400"/>
            </a:schemeClr>
          </a:solidFill>
          <a:ln w="4445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20" name="Picture 19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8761E293-D9B4-0F86-0B0B-6AA5ED2AE0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153" y="6537008"/>
            <a:ext cx="753859" cy="156096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93DE41-638F-98F6-5536-83B2244FB78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41" y="2173549"/>
            <a:ext cx="7104207" cy="3978275"/>
          </a:xfrm>
        </p:spPr>
        <p:txBody>
          <a:bodyPr lIns="0" rIns="0"/>
          <a:lstStyle>
            <a:lvl1pPr marL="0" indent="0">
              <a:buNone/>
              <a:defRPr/>
            </a:lvl1pPr>
            <a:lvl2pPr marL="457155" indent="0">
              <a:buNone/>
              <a:defRPr/>
            </a:lvl2pPr>
            <a:lvl3pPr marL="914309" indent="0">
              <a:buNone/>
              <a:defRPr/>
            </a:lvl3pPr>
            <a:lvl4pPr marL="1371464" indent="0">
              <a:buNone/>
              <a:defRPr/>
            </a:lvl4pPr>
            <a:lvl5pPr marL="182861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88A9E8B-D116-858A-EC47-80BD6AF2BD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41" y="368473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31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6ED60761-73A6-A05D-E6E1-596B967C8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7" y="1241373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3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B13B303-9934-88D1-F879-E130155052E5}"/>
              </a:ext>
            </a:extLst>
          </p:cNvPr>
          <p:cNvCxnSpPr>
            <a:cxnSpLocks/>
          </p:cNvCxnSpPr>
          <p:nvPr userDrawn="1"/>
        </p:nvCxnSpPr>
        <p:spPr>
          <a:xfrm>
            <a:off x="4457705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505FFAB-B692-3082-CDAD-0716C1937B5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651200" y="-207912"/>
            <a:ext cx="7302399" cy="7302399"/>
          </a:xfrm>
          <a:prstGeom prst="chord">
            <a:avLst>
              <a:gd name="adj1" fmla="val 14891008"/>
              <a:gd name="adj2" fmla="val 14728125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</p:spTree>
    <p:extLst>
      <p:ext uri="{BB962C8B-B14F-4D97-AF65-F5344CB8AC3E}">
        <p14:creationId xmlns:p14="http://schemas.microsoft.com/office/powerpoint/2010/main" val="483025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  <p15:guide id="3" pos="3744">
          <p15:clr>
            <a:srgbClr val="FBAE40"/>
          </p15:clr>
        </p15:guide>
      </p15:sldGuideLst>
    </p:ext>
  </p:extLs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BB1A3ACE-96EE-F4FC-E59F-1689CE09CB89}"/>
              </a:ext>
            </a:extLst>
          </p:cNvPr>
          <p:cNvSpPr/>
          <p:nvPr userDrawn="1"/>
        </p:nvSpPr>
        <p:spPr>
          <a:xfrm>
            <a:off x="-3945326" y="-502038"/>
            <a:ext cx="7890651" cy="7890651"/>
          </a:xfrm>
          <a:prstGeom prst="ellipse">
            <a:avLst/>
          </a:prstGeom>
          <a:solidFill>
            <a:schemeClr val="accent2">
              <a:alpha val="38400"/>
            </a:schemeClr>
          </a:solidFill>
          <a:ln w="4445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20" name="Picture 19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8761E293-D9B4-0F86-0B0B-6AA5ED2AE0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153" y="6537008"/>
            <a:ext cx="753859" cy="156096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93DE41-638F-98F6-5536-83B2244FB78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41" y="2173549"/>
            <a:ext cx="7104207" cy="3978275"/>
          </a:xfrm>
        </p:spPr>
        <p:txBody>
          <a:bodyPr lIns="0" rIns="0"/>
          <a:lstStyle>
            <a:lvl1pPr marL="0" indent="0">
              <a:buNone/>
              <a:defRPr/>
            </a:lvl1pPr>
            <a:lvl2pPr marL="457155" indent="0">
              <a:buNone/>
              <a:defRPr/>
            </a:lvl2pPr>
            <a:lvl3pPr marL="914309" indent="0">
              <a:buNone/>
              <a:defRPr/>
            </a:lvl3pPr>
            <a:lvl4pPr marL="1371464" indent="0">
              <a:buNone/>
              <a:defRPr/>
            </a:lvl4pPr>
            <a:lvl5pPr marL="182861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88A9E8B-D116-858A-EC47-80BD6AF2BD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41" y="368473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31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6ED60761-73A6-A05D-E6E1-596B967C8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7" y="1241373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3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B13B303-9934-88D1-F879-E130155052E5}"/>
              </a:ext>
            </a:extLst>
          </p:cNvPr>
          <p:cNvCxnSpPr>
            <a:cxnSpLocks/>
          </p:cNvCxnSpPr>
          <p:nvPr userDrawn="1"/>
        </p:nvCxnSpPr>
        <p:spPr>
          <a:xfrm>
            <a:off x="4457705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505FFAB-B692-3082-CDAD-0716C1937B5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651200" y="-207912"/>
            <a:ext cx="7302399" cy="7302399"/>
          </a:xfrm>
          <a:prstGeom prst="chord">
            <a:avLst>
              <a:gd name="adj1" fmla="val 14891008"/>
              <a:gd name="adj2" fmla="val 14728125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</p:spTree>
    <p:extLst>
      <p:ext uri="{BB962C8B-B14F-4D97-AF65-F5344CB8AC3E}">
        <p14:creationId xmlns:p14="http://schemas.microsoft.com/office/powerpoint/2010/main" val="2521381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  <p15:guide id="3" pos="3744">
          <p15:clr>
            <a:srgbClr val="FBAE40"/>
          </p15:clr>
        </p15:guide>
      </p15:sldGuideLst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BB1A3ACE-96EE-F4FC-E59F-1689CE09CB89}"/>
              </a:ext>
            </a:extLst>
          </p:cNvPr>
          <p:cNvSpPr/>
          <p:nvPr userDrawn="1"/>
        </p:nvSpPr>
        <p:spPr>
          <a:xfrm>
            <a:off x="-3945326" y="-502038"/>
            <a:ext cx="7890651" cy="7890651"/>
          </a:xfrm>
          <a:prstGeom prst="ellipse">
            <a:avLst/>
          </a:prstGeom>
          <a:solidFill>
            <a:schemeClr val="bg2">
              <a:alpha val="62470"/>
            </a:schemeClr>
          </a:solidFill>
          <a:ln w="4445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20" name="Picture 19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8761E293-D9B4-0F86-0B0B-6AA5ED2AE0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153" y="6537008"/>
            <a:ext cx="753859" cy="156096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93DE41-638F-98F6-5536-83B2244FB78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41" y="2173549"/>
            <a:ext cx="7104207" cy="3978275"/>
          </a:xfrm>
        </p:spPr>
        <p:txBody>
          <a:bodyPr lIns="0" rIns="0"/>
          <a:lstStyle>
            <a:lvl1pPr marL="0" indent="0">
              <a:buNone/>
              <a:defRPr/>
            </a:lvl1pPr>
            <a:lvl2pPr marL="457155" indent="0">
              <a:buNone/>
              <a:defRPr/>
            </a:lvl2pPr>
            <a:lvl3pPr marL="914309" indent="0">
              <a:buNone/>
              <a:defRPr/>
            </a:lvl3pPr>
            <a:lvl4pPr marL="1371464" indent="0">
              <a:buNone/>
              <a:defRPr/>
            </a:lvl4pPr>
            <a:lvl5pPr marL="182861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88A9E8B-D116-858A-EC47-80BD6AF2BD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41" y="368473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31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6ED60761-73A6-A05D-E6E1-596B967C8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7" y="1241373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3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B13B303-9934-88D1-F879-E130155052E5}"/>
              </a:ext>
            </a:extLst>
          </p:cNvPr>
          <p:cNvCxnSpPr>
            <a:cxnSpLocks/>
          </p:cNvCxnSpPr>
          <p:nvPr userDrawn="1"/>
        </p:nvCxnSpPr>
        <p:spPr>
          <a:xfrm>
            <a:off x="4457705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505FFAB-B692-3082-CDAD-0716C1937B5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651200" y="-207912"/>
            <a:ext cx="7302399" cy="7302399"/>
          </a:xfrm>
          <a:prstGeom prst="chord">
            <a:avLst>
              <a:gd name="adj1" fmla="val 14891008"/>
              <a:gd name="adj2" fmla="val 14728125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</p:spTree>
    <p:extLst>
      <p:ext uri="{BB962C8B-B14F-4D97-AF65-F5344CB8AC3E}">
        <p14:creationId xmlns:p14="http://schemas.microsoft.com/office/powerpoint/2010/main" val="3508454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  <p15:guide id="3" pos="3744">
          <p15:clr>
            <a:srgbClr val="FBAE40"/>
          </p15:clr>
        </p15:guide>
      </p15:sldGuideLst>
    </p:ext>
  </p:extLs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42DFF7C-E8BA-18FB-FCCA-1D940663230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2143116" y="685595"/>
            <a:ext cx="5486400" cy="5486400"/>
          </a:xfrm>
          <a:prstGeom prst="chord">
            <a:avLst>
              <a:gd name="adj1" fmla="val 16223487"/>
              <a:gd name="adj2" fmla="val 5378999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  <p:sp>
        <p:nvSpPr>
          <p:cNvPr id="2" name="Arc 1">
            <a:extLst>
              <a:ext uri="{FF2B5EF4-FFF2-40B4-BE49-F238E27FC236}">
                <a16:creationId xmlns:a16="http://schemas.microsoft.com/office/drawing/2014/main" id="{62DA2AC3-83E6-3302-EA43-1F0A2914B1E8}"/>
              </a:ext>
            </a:extLst>
          </p:cNvPr>
          <p:cNvSpPr/>
          <p:nvPr userDrawn="1"/>
        </p:nvSpPr>
        <p:spPr>
          <a:xfrm>
            <a:off x="-2279595" y="538733"/>
            <a:ext cx="5808699" cy="5808699"/>
          </a:xfrm>
          <a:prstGeom prst="arc">
            <a:avLst>
              <a:gd name="adj1" fmla="val 16195710"/>
              <a:gd name="adj2" fmla="val 19585927"/>
            </a:avLst>
          </a:prstGeom>
          <a:ln w="355600">
            <a:solidFill>
              <a:schemeClr val="accent5">
                <a:alpha val="7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22D43CF-FCBA-4908-9209-65A409A55A69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5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C13DF582-A80A-CF43-F360-B0D52A4F499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41" y="2173549"/>
            <a:ext cx="7104207" cy="3978275"/>
          </a:xfrm>
        </p:spPr>
        <p:txBody>
          <a:bodyPr lIns="0" rIns="0"/>
          <a:lstStyle>
            <a:lvl1pPr marL="0" indent="0">
              <a:buNone/>
              <a:defRPr/>
            </a:lvl1pPr>
            <a:lvl2pPr marL="457155" indent="0">
              <a:buNone/>
              <a:defRPr/>
            </a:lvl2pPr>
            <a:lvl3pPr marL="914309" indent="0">
              <a:buNone/>
              <a:defRPr/>
            </a:lvl3pPr>
            <a:lvl4pPr marL="1371464" indent="0">
              <a:buNone/>
              <a:defRPr/>
            </a:lvl4pPr>
            <a:lvl5pPr marL="182861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525D93A-3502-932A-E1EE-8281677DC6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41" y="368473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31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F9014EBD-CF89-46D7-A57A-3D4B3C3F2EC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7" y="1241373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3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09BEE27-D24F-3768-17B0-EBD09B6F8AF7}"/>
              </a:ext>
            </a:extLst>
          </p:cNvPr>
          <p:cNvCxnSpPr>
            <a:cxnSpLocks/>
          </p:cNvCxnSpPr>
          <p:nvPr userDrawn="1"/>
        </p:nvCxnSpPr>
        <p:spPr>
          <a:xfrm>
            <a:off x="4457705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1002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088">
          <p15:clr>
            <a:srgbClr val="FBAE40"/>
          </p15:clr>
        </p15:guide>
        <p15:guide id="3" pos="512">
          <p15:clr>
            <a:srgbClr val="FBAE40"/>
          </p15:clr>
        </p15:guide>
        <p15:guide id="4" pos="9728">
          <p15:clr>
            <a:srgbClr val="FBAE40"/>
          </p15:clr>
        </p15:guide>
      </p15:sldGuideLst>
    </p:ext>
  </p:extLs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42DFF7C-E8BA-18FB-FCCA-1D940663230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2143116" y="685595"/>
            <a:ext cx="5486400" cy="5486400"/>
          </a:xfrm>
          <a:prstGeom prst="chord">
            <a:avLst>
              <a:gd name="adj1" fmla="val 16223487"/>
              <a:gd name="adj2" fmla="val 5378999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  <p:sp>
        <p:nvSpPr>
          <p:cNvPr id="2" name="Arc 1">
            <a:extLst>
              <a:ext uri="{FF2B5EF4-FFF2-40B4-BE49-F238E27FC236}">
                <a16:creationId xmlns:a16="http://schemas.microsoft.com/office/drawing/2014/main" id="{62DA2AC3-83E6-3302-EA43-1F0A2914B1E8}"/>
              </a:ext>
            </a:extLst>
          </p:cNvPr>
          <p:cNvSpPr/>
          <p:nvPr userDrawn="1"/>
        </p:nvSpPr>
        <p:spPr>
          <a:xfrm>
            <a:off x="-2279595" y="538733"/>
            <a:ext cx="5808699" cy="5808699"/>
          </a:xfrm>
          <a:prstGeom prst="arc">
            <a:avLst>
              <a:gd name="adj1" fmla="val 16195710"/>
              <a:gd name="adj2" fmla="val 19585927"/>
            </a:avLst>
          </a:prstGeom>
          <a:ln w="355600">
            <a:solidFill>
              <a:schemeClr val="accent2">
                <a:alpha val="4694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E836BA6-5575-37A6-6D7E-C160F5F01E80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5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00BD2CB4-9DBA-8408-CC09-67885095A0E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41" y="2173549"/>
            <a:ext cx="7104207" cy="3978275"/>
          </a:xfrm>
        </p:spPr>
        <p:txBody>
          <a:bodyPr lIns="0" rIns="0"/>
          <a:lstStyle>
            <a:lvl1pPr marL="0" indent="0">
              <a:buNone/>
              <a:defRPr/>
            </a:lvl1pPr>
            <a:lvl2pPr marL="457155" indent="0">
              <a:buNone/>
              <a:defRPr/>
            </a:lvl2pPr>
            <a:lvl3pPr marL="914309" indent="0">
              <a:buNone/>
              <a:defRPr/>
            </a:lvl3pPr>
            <a:lvl4pPr marL="1371464" indent="0">
              <a:buNone/>
              <a:defRPr/>
            </a:lvl4pPr>
            <a:lvl5pPr marL="182861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A770A6E-742D-1F18-C5F0-50A893DC47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41" y="368473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31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6B53E34-B99F-22BE-1064-B2B1C3E670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7" y="1241373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3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8B72724-55B0-70E8-D19C-2DFEF7251F0C}"/>
              </a:ext>
            </a:extLst>
          </p:cNvPr>
          <p:cNvCxnSpPr>
            <a:cxnSpLocks/>
          </p:cNvCxnSpPr>
          <p:nvPr userDrawn="1"/>
        </p:nvCxnSpPr>
        <p:spPr>
          <a:xfrm>
            <a:off x="4457705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7812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088">
          <p15:clr>
            <a:srgbClr val="FBAE40"/>
          </p15:clr>
        </p15:guide>
        <p15:guide id="3" pos="512">
          <p15:clr>
            <a:srgbClr val="FBAE40"/>
          </p15:clr>
        </p15:guide>
        <p15:guide id="4" pos="9728">
          <p15:clr>
            <a:srgbClr val="FBAE40"/>
          </p15:clr>
        </p15:guide>
      </p15:sldGuideLst>
    </p:ext>
  </p:extLs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ord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6203560" y="1409660"/>
            <a:ext cx="4062661" cy="4062661"/>
          </a:xfrm>
          <a:prstGeom prst="chord">
            <a:avLst>
              <a:gd name="adj1" fmla="val 5380442"/>
              <a:gd name="adj2" fmla="val 16200000"/>
            </a:avLst>
          </a:prstGeom>
          <a:solidFill>
            <a:schemeClr val="accent5">
              <a:alpha val="14000"/>
            </a:schemeClr>
          </a:solidFill>
          <a:ln w="3810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59" r="170"/>
          <a:stretch/>
        </p:blipFill>
        <p:spPr>
          <a:xfrm>
            <a:off x="8238565" y="0"/>
            <a:ext cx="3953439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8238564" y="0"/>
            <a:ext cx="3953437" cy="6858000"/>
          </a:xfrm>
          <a:prstGeom prst="rect">
            <a:avLst/>
          </a:prstGeom>
          <a:solidFill>
            <a:schemeClr val="accent5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F597556C-921F-8A86-4312-95EAE44E731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4092" y="1907263"/>
            <a:ext cx="5319513" cy="4354993"/>
          </a:xfrm>
        </p:spPr>
        <p:txBody>
          <a:bodyPr lIns="0" rIns="0"/>
          <a:lstStyle>
            <a:lvl1pPr marL="0" indent="0">
              <a:buNone/>
              <a:defRPr/>
            </a:lvl1pPr>
            <a:lvl2pPr marL="457155" indent="0">
              <a:buNone/>
              <a:defRPr/>
            </a:lvl2pPr>
            <a:lvl3pPr marL="914309" indent="0">
              <a:buNone/>
              <a:defRPr/>
            </a:lvl3pPr>
            <a:lvl4pPr marL="1371464" indent="0">
              <a:buNone/>
              <a:defRPr/>
            </a:lvl4pPr>
            <a:lvl5pPr marL="182861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C5E39A7-32B5-A4CA-7EB6-0CF0F105FF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365" y="269044"/>
            <a:ext cx="5318235" cy="523220"/>
          </a:xfrm>
        </p:spPr>
        <p:txBody>
          <a:bodyPr wrap="square" lIns="0" rIns="0" anchor="b">
            <a:sp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BF1C4B2-7895-8661-D5BA-28609D34E2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5365" y="989734"/>
            <a:ext cx="5318235" cy="400110"/>
          </a:xfrm>
        </p:spPr>
        <p:txBody>
          <a:bodyPr wrap="square" lIns="0" rIns="0">
            <a:spAutoFit/>
          </a:bodyPr>
          <a:lstStyle>
            <a:lvl1pPr marL="0" indent="0" algn="l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C6EDF7-A28E-CA58-E0DE-30C4A8CF1043}"/>
              </a:ext>
            </a:extLst>
          </p:cNvPr>
          <p:cNvCxnSpPr>
            <a:cxnSpLocks/>
          </p:cNvCxnSpPr>
          <p:nvPr userDrawn="1"/>
        </p:nvCxnSpPr>
        <p:spPr>
          <a:xfrm>
            <a:off x="625370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9" name="Picture 1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490E5B3-7867-69E6-A4BD-CCC34DDB077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9"/>
            <a:ext cx="1280160" cy="265335"/>
          </a:xfrm>
          <a:prstGeom prst="rect">
            <a:avLst/>
          </a:prstGeom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384E2753-8378-A889-2BF7-63F1D469C15F}"/>
              </a:ext>
            </a:extLst>
          </p:cNvPr>
          <p:cNvSpPr/>
          <p:nvPr userDrawn="1"/>
        </p:nvSpPr>
        <p:spPr>
          <a:xfrm>
            <a:off x="6544607" y="1750704"/>
            <a:ext cx="3380568" cy="338056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6E5DF571-44A5-A36E-77C0-B0517DF656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88987" y="1990534"/>
            <a:ext cx="2891812" cy="2900907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16117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499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AD368C0C-6AE5-6848-0E96-7325AE63A9B4}"/>
              </a:ext>
            </a:extLst>
          </p:cNvPr>
          <p:cNvGrpSpPr/>
          <p:nvPr userDrawn="1"/>
        </p:nvGrpSpPr>
        <p:grpSpPr>
          <a:xfrm rot="10800000">
            <a:off x="-989286" y="5065529"/>
            <a:ext cx="5720108" cy="5720108"/>
            <a:chOff x="105150" y="-3122465"/>
            <a:chExt cx="5720108" cy="5720108"/>
          </a:xfrm>
        </p:grpSpPr>
        <p:sp>
          <p:nvSpPr>
            <p:cNvPr id="20" name="Chord 19">
              <a:extLst>
                <a:ext uri="{FF2B5EF4-FFF2-40B4-BE49-F238E27FC236}">
                  <a16:creationId xmlns:a16="http://schemas.microsoft.com/office/drawing/2014/main" id="{55C18862-C275-34CA-0FF9-D648867E5C13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215574"/>
                <a:gd name="adj2" fmla="val 9610099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1" name="Chord 20">
              <a:extLst>
                <a:ext uri="{FF2B5EF4-FFF2-40B4-BE49-F238E27FC236}">
                  <a16:creationId xmlns:a16="http://schemas.microsoft.com/office/drawing/2014/main" id="{C643B53E-DE3F-C827-26B2-3F973467D24F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503614"/>
                <a:gd name="adj2" fmla="val 9282250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2" name="Chord 21">
              <a:extLst>
                <a:ext uri="{FF2B5EF4-FFF2-40B4-BE49-F238E27FC236}">
                  <a16:creationId xmlns:a16="http://schemas.microsoft.com/office/drawing/2014/main" id="{8AD67EB1-5666-9C24-2C0E-448AB847B637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82273"/>
                <a:gd name="adj2" fmla="val 8808404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0A24EED9-4ADC-C399-7382-301E46A0CC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F5CDCDF-0943-B2E8-8886-A788DF7179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B4044E7-D165-021E-FE1B-FD68226DB0E4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2FA1AA87-ED82-9197-6BF3-32B0F8579B01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24" name="Picture 2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78CA3334-FFDD-A2BC-1614-72E1172369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  <p:sp>
        <p:nvSpPr>
          <p:cNvPr id="2" name="Text Placeholder 16">
            <a:extLst>
              <a:ext uri="{FF2B5EF4-FFF2-40B4-BE49-F238E27FC236}">
                <a16:creationId xmlns:a16="http://schemas.microsoft.com/office/drawing/2014/main" id="{EE5D20B2-7720-7BD2-20FF-1490D95C26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9" y="1696290"/>
            <a:ext cx="10972800" cy="4403721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en-US" sz="2400"/>
              <a:t>Click to edit text</a:t>
            </a:r>
          </a:p>
          <a:p>
            <a:pPr marL="406390" lvl="1" indent="-242882"/>
            <a:r>
              <a:rPr lang="en-US" sz="2000"/>
              <a:t>Second level</a:t>
            </a:r>
          </a:p>
          <a:p>
            <a:pPr marL="744520" lvl="2" indent="-220657"/>
            <a:r>
              <a:rPr lang="en-US" sz="1800"/>
              <a:t>Third level</a:t>
            </a:r>
          </a:p>
          <a:p>
            <a:pPr marL="1206470" lvl="3" indent="-234945"/>
            <a:r>
              <a:rPr lang="en-US" sz="1600"/>
              <a:t>Fourth level</a:t>
            </a:r>
          </a:p>
          <a:p>
            <a:pPr marL="1716045" lvl="4" indent="-227008"/>
            <a:r>
              <a:rPr lang="en-US" sz="1600"/>
              <a:t>Fifth level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34FEAE4-3735-B95E-441E-8CFE9CA7D7D0}"/>
              </a:ext>
            </a:extLst>
          </p:cNvPr>
          <p:cNvGrpSpPr/>
          <p:nvPr userDrawn="1"/>
        </p:nvGrpSpPr>
        <p:grpSpPr>
          <a:xfrm>
            <a:off x="6064162" y="-3899901"/>
            <a:ext cx="7613464" cy="7613464"/>
            <a:chOff x="105150" y="-3122465"/>
            <a:chExt cx="5720108" cy="5720108"/>
          </a:xfrm>
        </p:grpSpPr>
        <p:sp>
          <p:nvSpPr>
            <p:cNvPr id="4" name="Chord 3">
              <a:extLst>
                <a:ext uri="{FF2B5EF4-FFF2-40B4-BE49-F238E27FC236}">
                  <a16:creationId xmlns:a16="http://schemas.microsoft.com/office/drawing/2014/main" id="{7D73E575-7A80-C6AC-EACA-0B2954DD31BA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6" name="Chord 5">
              <a:extLst>
                <a:ext uri="{FF2B5EF4-FFF2-40B4-BE49-F238E27FC236}">
                  <a16:creationId xmlns:a16="http://schemas.microsoft.com/office/drawing/2014/main" id="{A6241D6A-FA8E-1597-CA6E-A4EE246EDFED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7" name="Chord 6">
              <a:extLst>
                <a:ext uri="{FF2B5EF4-FFF2-40B4-BE49-F238E27FC236}">
                  <a16:creationId xmlns:a16="http://schemas.microsoft.com/office/drawing/2014/main" id="{0BF4A927-11D0-3FF7-F08C-7AEF2AB72F20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8718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ord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6203560" y="1409660"/>
            <a:ext cx="4062661" cy="4062661"/>
          </a:xfrm>
          <a:prstGeom prst="chord">
            <a:avLst>
              <a:gd name="adj1" fmla="val 5380442"/>
              <a:gd name="adj2" fmla="val 16200000"/>
            </a:avLst>
          </a:prstGeom>
          <a:solidFill>
            <a:schemeClr val="accent2">
              <a:alpha val="14000"/>
            </a:schemeClr>
          </a:solidFill>
          <a:ln w="3810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59" r="170"/>
          <a:stretch/>
        </p:blipFill>
        <p:spPr>
          <a:xfrm>
            <a:off x="8238565" y="0"/>
            <a:ext cx="3953439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8238564" y="0"/>
            <a:ext cx="3953437" cy="6858000"/>
          </a:xfrm>
          <a:prstGeom prst="rect">
            <a:avLst/>
          </a:prstGeom>
          <a:solidFill>
            <a:schemeClr val="accent2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F597556C-921F-8A86-4312-95EAE44E731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4092" y="1907263"/>
            <a:ext cx="5319513" cy="4354993"/>
          </a:xfrm>
        </p:spPr>
        <p:txBody>
          <a:bodyPr lIns="0" rIns="0"/>
          <a:lstStyle>
            <a:lvl1pPr marL="0" indent="0">
              <a:buNone/>
              <a:defRPr/>
            </a:lvl1pPr>
            <a:lvl2pPr marL="457155" indent="0">
              <a:buNone/>
              <a:defRPr/>
            </a:lvl2pPr>
            <a:lvl3pPr marL="914309" indent="0">
              <a:buNone/>
              <a:defRPr/>
            </a:lvl3pPr>
            <a:lvl4pPr marL="1371464" indent="0">
              <a:buNone/>
              <a:defRPr/>
            </a:lvl4pPr>
            <a:lvl5pPr marL="182861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C5E39A7-32B5-A4CA-7EB6-0CF0F105FF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365" y="269044"/>
            <a:ext cx="5318235" cy="523220"/>
          </a:xfrm>
        </p:spPr>
        <p:txBody>
          <a:bodyPr wrap="square" lIns="0" rIns="0" anchor="b">
            <a:sp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BF1C4B2-7895-8661-D5BA-28609D34E2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5365" y="989734"/>
            <a:ext cx="5318235" cy="400110"/>
          </a:xfrm>
        </p:spPr>
        <p:txBody>
          <a:bodyPr wrap="square" lIns="0" rIns="0">
            <a:spAutoFit/>
          </a:bodyPr>
          <a:lstStyle>
            <a:lvl1pPr marL="0" indent="0" algn="l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C6EDF7-A28E-CA58-E0DE-30C4A8CF1043}"/>
              </a:ext>
            </a:extLst>
          </p:cNvPr>
          <p:cNvCxnSpPr>
            <a:cxnSpLocks/>
          </p:cNvCxnSpPr>
          <p:nvPr userDrawn="1"/>
        </p:nvCxnSpPr>
        <p:spPr>
          <a:xfrm>
            <a:off x="625370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9" name="Picture 1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490E5B3-7867-69E6-A4BD-CCC34DDB077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9"/>
            <a:ext cx="1280160" cy="265335"/>
          </a:xfrm>
          <a:prstGeom prst="rect">
            <a:avLst/>
          </a:prstGeom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384E2753-8378-A889-2BF7-63F1D469C15F}"/>
              </a:ext>
            </a:extLst>
          </p:cNvPr>
          <p:cNvSpPr/>
          <p:nvPr userDrawn="1"/>
        </p:nvSpPr>
        <p:spPr>
          <a:xfrm>
            <a:off x="6544607" y="1750704"/>
            <a:ext cx="3380568" cy="338056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6E5DF571-44A5-A36E-77C0-B0517DF656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88987" y="1990534"/>
            <a:ext cx="2891812" cy="2900907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85814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4992">
          <p15:clr>
            <a:srgbClr val="FBAE40"/>
          </p15:clr>
        </p15:guide>
      </p15:sldGuideLst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8E2F7EE-7709-35BA-E127-C50BC1009EB5}"/>
              </a:ext>
            </a:extLst>
          </p:cNvPr>
          <p:cNvGrpSpPr/>
          <p:nvPr userDrawn="1"/>
        </p:nvGrpSpPr>
        <p:grpSpPr>
          <a:xfrm>
            <a:off x="7392511" y="-3678194"/>
            <a:ext cx="5720108" cy="5720108"/>
            <a:chOff x="105150" y="-3122465"/>
            <a:chExt cx="5720108" cy="5720108"/>
          </a:xfrm>
        </p:grpSpPr>
        <p:sp>
          <p:nvSpPr>
            <p:cNvPr id="13" name="Chord 12">
              <a:extLst>
                <a:ext uri="{FF2B5EF4-FFF2-40B4-BE49-F238E27FC236}">
                  <a16:creationId xmlns:a16="http://schemas.microsoft.com/office/drawing/2014/main" id="{CFC3B866-3DF5-6AE9-F330-2CEFF3126B8E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972540"/>
                <a:gd name="adj2" fmla="val 988089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7" name="Chord 16">
              <a:extLst>
                <a:ext uri="{FF2B5EF4-FFF2-40B4-BE49-F238E27FC236}">
                  <a16:creationId xmlns:a16="http://schemas.microsoft.com/office/drawing/2014/main" id="{77547FDB-7552-1776-A57C-6D2898A85D30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171149"/>
                <a:gd name="adj2" fmla="val 959543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8" name="Chord 17">
              <a:extLst>
                <a:ext uri="{FF2B5EF4-FFF2-40B4-BE49-F238E27FC236}">
                  <a16:creationId xmlns:a16="http://schemas.microsoft.com/office/drawing/2014/main" id="{8E1EBB78-23CA-495F-E7D4-052BBA798DA1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517033"/>
                <a:gd name="adj2" fmla="val 9345714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D368C0C-6AE5-6848-0E96-7325AE63A9B4}"/>
              </a:ext>
            </a:extLst>
          </p:cNvPr>
          <p:cNvGrpSpPr/>
          <p:nvPr userDrawn="1"/>
        </p:nvGrpSpPr>
        <p:grpSpPr>
          <a:xfrm rot="10800000">
            <a:off x="-989286" y="5065531"/>
            <a:ext cx="5720108" cy="5720108"/>
            <a:chOff x="105150" y="-3122465"/>
            <a:chExt cx="5720108" cy="5720108"/>
          </a:xfrm>
        </p:grpSpPr>
        <p:sp>
          <p:nvSpPr>
            <p:cNvPr id="20" name="Chord 19">
              <a:extLst>
                <a:ext uri="{FF2B5EF4-FFF2-40B4-BE49-F238E27FC236}">
                  <a16:creationId xmlns:a16="http://schemas.microsoft.com/office/drawing/2014/main" id="{55C18862-C275-34CA-0FF9-D648867E5C13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215574"/>
                <a:gd name="adj2" fmla="val 9610099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1" name="Chord 20">
              <a:extLst>
                <a:ext uri="{FF2B5EF4-FFF2-40B4-BE49-F238E27FC236}">
                  <a16:creationId xmlns:a16="http://schemas.microsoft.com/office/drawing/2014/main" id="{C643B53E-DE3F-C827-26B2-3F973467D24F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503614"/>
                <a:gd name="adj2" fmla="val 9282250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2" name="Chord 21">
              <a:extLst>
                <a:ext uri="{FF2B5EF4-FFF2-40B4-BE49-F238E27FC236}">
                  <a16:creationId xmlns:a16="http://schemas.microsoft.com/office/drawing/2014/main" id="{8AD67EB1-5666-9C24-2C0E-448AB847B637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82273"/>
                <a:gd name="adj2" fmla="val 8808404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0A24EED9-4ADC-C399-7382-301E46A0CC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916" y="269044"/>
            <a:ext cx="11796171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F5CDCDF-0943-B2E8-8886-A788DF7179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97916" y="989734"/>
            <a:ext cx="11796171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B4044E7-D165-021E-FE1B-FD68226DB0E4}"/>
              </a:ext>
            </a:extLst>
          </p:cNvPr>
          <p:cNvCxnSpPr>
            <a:cxnSpLocks/>
          </p:cNvCxnSpPr>
          <p:nvPr userDrawn="1"/>
        </p:nvCxnSpPr>
        <p:spPr>
          <a:xfrm>
            <a:off x="5243082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2FA1AA87-ED82-9197-6BF3-32B0F8579B01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5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24" name="Picture 2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78CA3334-FFDD-A2BC-1614-72E1172369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9"/>
            <a:ext cx="1280160" cy="265335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A2929E4-AA46-CC31-0FA0-F45E8D4B932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97915" y="1688463"/>
            <a:ext cx="11796172" cy="437083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z="2400"/>
              <a:t>Click to edit text</a:t>
            </a:r>
          </a:p>
          <a:p>
            <a:pPr marL="406361" lvl="1" indent="-242865"/>
            <a:r>
              <a:rPr lang="en-US" sz="2000"/>
              <a:t>Second level</a:t>
            </a:r>
          </a:p>
          <a:p>
            <a:pPr marL="744464" lvl="2" indent="-220641"/>
            <a:r>
              <a:rPr lang="en-US" sz="1800"/>
              <a:t>Third level</a:t>
            </a:r>
          </a:p>
          <a:p>
            <a:pPr marL="1206381" lvl="3" indent="-234927"/>
            <a:r>
              <a:rPr lang="en-US" sz="1600"/>
              <a:t>Fourth level</a:t>
            </a:r>
          </a:p>
          <a:p>
            <a:pPr marL="1715917" lvl="4" indent="-226992"/>
            <a:r>
              <a:rPr lang="en-US" sz="1600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0BB872B-0657-A57F-DECA-26C7B4F04EA0}"/>
              </a:ext>
            </a:extLst>
          </p:cNvPr>
          <p:cNvSpPr txBox="1"/>
          <p:nvPr userDrawn="1"/>
        </p:nvSpPr>
        <p:spPr>
          <a:xfrm>
            <a:off x="10001252" y="6451872"/>
            <a:ext cx="1779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solidFill>
                  <a:schemeClr val="bg1">
                    <a:lumMod val="50000"/>
                  </a:schemeClr>
                </a:solidFill>
              </a:rPr>
              <a:t>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3350242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-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50AB8BE2-3203-B29A-6549-F4662A7362DE}"/>
              </a:ext>
            </a:extLst>
          </p:cNvPr>
          <p:cNvGrpSpPr/>
          <p:nvPr userDrawn="1"/>
        </p:nvGrpSpPr>
        <p:grpSpPr>
          <a:xfrm>
            <a:off x="7392511" y="-3678194"/>
            <a:ext cx="5720108" cy="5720108"/>
            <a:chOff x="105150" y="-3122465"/>
            <a:chExt cx="5720108" cy="5720108"/>
          </a:xfrm>
        </p:grpSpPr>
        <p:sp>
          <p:nvSpPr>
            <p:cNvPr id="30" name="Chord 29">
              <a:extLst>
                <a:ext uri="{FF2B5EF4-FFF2-40B4-BE49-F238E27FC236}">
                  <a16:creationId xmlns:a16="http://schemas.microsoft.com/office/drawing/2014/main" id="{1A9E727C-B5A7-DDC4-5F65-307DD1BC2ACA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972540"/>
                <a:gd name="adj2" fmla="val 988089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1" name="Chord 30">
              <a:extLst>
                <a:ext uri="{FF2B5EF4-FFF2-40B4-BE49-F238E27FC236}">
                  <a16:creationId xmlns:a16="http://schemas.microsoft.com/office/drawing/2014/main" id="{D831F826-05DC-A9B0-1C1D-BEE636C2AB32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171149"/>
                <a:gd name="adj2" fmla="val 959543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2" name="Chord 31">
              <a:extLst>
                <a:ext uri="{FF2B5EF4-FFF2-40B4-BE49-F238E27FC236}">
                  <a16:creationId xmlns:a16="http://schemas.microsoft.com/office/drawing/2014/main" id="{4EF2C1D6-D255-62B4-D41F-19567F524BA0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517033"/>
                <a:gd name="adj2" fmla="val 9345714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E1A43A9-A101-1699-F9ED-D93E9BCFA3AA}"/>
              </a:ext>
            </a:extLst>
          </p:cNvPr>
          <p:cNvGrpSpPr/>
          <p:nvPr userDrawn="1"/>
        </p:nvGrpSpPr>
        <p:grpSpPr>
          <a:xfrm rot="10800000">
            <a:off x="-989286" y="5065531"/>
            <a:ext cx="5720108" cy="5720108"/>
            <a:chOff x="105150" y="-3122465"/>
            <a:chExt cx="5720108" cy="5720108"/>
          </a:xfrm>
        </p:grpSpPr>
        <p:sp>
          <p:nvSpPr>
            <p:cNvPr id="26" name="Chord 25">
              <a:extLst>
                <a:ext uri="{FF2B5EF4-FFF2-40B4-BE49-F238E27FC236}">
                  <a16:creationId xmlns:a16="http://schemas.microsoft.com/office/drawing/2014/main" id="{789F3800-E40C-8693-B5C5-16EDBA3B954E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215574"/>
                <a:gd name="adj2" fmla="val 9610099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7" name="Chord 26">
              <a:extLst>
                <a:ext uri="{FF2B5EF4-FFF2-40B4-BE49-F238E27FC236}">
                  <a16:creationId xmlns:a16="http://schemas.microsoft.com/office/drawing/2014/main" id="{13C2E123-3187-2B89-C07D-A1B2E77F3893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503614"/>
                <a:gd name="adj2" fmla="val 9282250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8" name="Chord 27">
              <a:extLst>
                <a:ext uri="{FF2B5EF4-FFF2-40B4-BE49-F238E27FC236}">
                  <a16:creationId xmlns:a16="http://schemas.microsoft.com/office/drawing/2014/main" id="{016E9895-16D1-6E83-FA72-F2BF6E083EC4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82273"/>
                <a:gd name="adj2" fmla="val 8808404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B5E0138-3A7C-947A-1805-6A974EDC98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5072" y="269044"/>
            <a:ext cx="11801856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no footer – to keep one line if possib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F3D3896-21F7-E606-32AE-78C80324F0E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95072" y="989734"/>
            <a:ext cx="11801856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6CCFDFF-0D99-CD81-3E40-E7EA1D9C0266}"/>
              </a:ext>
            </a:extLst>
          </p:cNvPr>
          <p:cNvCxnSpPr>
            <a:cxnSpLocks/>
          </p:cNvCxnSpPr>
          <p:nvPr userDrawn="1"/>
        </p:nvCxnSpPr>
        <p:spPr>
          <a:xfrm>
            <a:off x="5243082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B8B0E428-5670-D914-1E9A-0EB3598EE8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95072" y="1688464"/>
            <a:ext cx="11801856" cy="443484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None/>
              <a:defRPr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5pPr>
          </a:lstStyle>
          <a:p>
            <a:r>
              <a:rPr lang="en-US" sz="2400"/>
              <a:t>Click to edit text</a:t>
            </a:r>
          </a:p>
          <a:p>
            <a:pPr marL="406361" lvl="1" indent="-242865"/>
            <a:r>
              <a:rPr lang="en-US" sz="2000"/>
              <a:t>Second level</a:t>
            </a:r>
          </a:p>
          <a:p>
            <a:pPr marL="744464" lvl="2" indent="-220641"/>
            <a:r>
              <a:rPr lang="en-US" sz="1800"/>
              <a:t>Third level</a:t>
            </a:r>
          </a:p>
          <a:p>
            <a:pPr marL="1206381" lvl="3" indent="-234927"/>
            <a:r>
              <a:rPr lang="en-US" sz="1600"/>
              <a:t>Fourth level</a:t>
            </a:r>
          </a:p>
          <a:p>
            <a:pPr marL="1715917" lvl="4" indent="-226992"/>
            <a:r>
              <a:rPr lang="en-US" sz="160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2841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120">
          <p15:clr>
            <a:srgbClr val="FBAE40"/>
          </p15:clr>
        </p15:guide>
      </p15:sldGuideLst>
    </p:ext>
  </p:extLs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lin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42CF21A0-6A91-895A-CE7E-1B73C0CBC0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916" y="88544"/>
            <a:ext cx="11796169" cy="984885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the slide title – use this slide template for longer titles that go on 2 lines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1C59ED0-DFF6-9CFB-E870-E3E5A6ADCF5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97916" y="1329890"/>
            <a:ext cx="11796171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9E6CC12-A8E1-0799-C9E2-B223F4FBBD47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5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0" name="Picture 9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3B3BD67E-AAB3-7AE8-D165-0936A4B443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9"/>
            <a:ext cx="1280160" cy="265335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ED66CFB-7627-E5C3-BBBC-B369F84A3A0B}"/>
              </a:ext>
            </a:extLst>
          </p:cNvPr>
          <p:cNvCxnSpPr>
            <a:cxnSpLocks/>
          </p:cNvCxnSpPr>
          <p:nvPr userDrawn="1"/>
        </p:nvCxnSpPr>
        <p:spPr>
          <a:xfrm>
            <a:off x="5243082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22CDFF11-44D3-6398-ACBB-F7E4B6E10DA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97917" y="1975560"/>
            <a:ext cx="11796171" cy="4256277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None/>
              <a:defRPr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5pPr>
          </a:lstStyle>
          <a:p>
            <a:r>
              <a:rPr lang="en-US" sz="2400"/>
              <a:t>Click to edit text</a:t>
            </a:r>
          </a:p>
          <a:p>
            <a:pPr marL="406361" lvl="1" indent="-242865"/>
            <a:r>
              <a:rPr lang="en-US" sz="2000"/>
              <a:t>Second level</a:t>
            </a:r>
          </a:p>
          <a:p>
            <a:pPr marL="744464" lvl="2" indent="-220641"/>
            <a:r>
              <a:rPr lang="en-US" sz="1800"/>
              <a:t>Third level</a:t>
            </a:r>
          </a:p>
          <a:p>
            <a:pPr marL="1206381" lvl="3" indent="-234927"/>
            <a:r>
              <a:rPr lang="en-US" sz="1600"/>
              <a:t>Fourth level</a:t>
            </a:r>
          </a:p>
          <a:p>
            <a:pPr marL="1715917" lvl="4" indent="-226992"/>
            <a:r>
              <a:rPr lang="en-US" sz="160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03672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6313D4-977E-A5F2-6EC7-B1462BF548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3682" y="269044"/>
            <a:ext cx="11796169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No background layout – Click to add slid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4DF489C-64CD-4A63-833D-6B9A60F58F1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13682" y="989734"/>
            <a:ext cx="11796169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D7BB8B2-4A22-8A66-8036-6D8CE72F8D66}"/>
              </a:ext>
            </a:extLst>
          </p:cNvPr>
          <p:cNvCxnSpPr>
            <a:cxnSpLocks/>
          </p:cNvCxnSpPr>
          <p:nvPr userDrawn="1"/>
        </p:nvCxnSpPr>
        <p:spPr>
          <a:xfrm>
            <a:off x="5258849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E626FCA-CB63-6310-722E-F15225B2C263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5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C7B1B2CF-CB17-B455-3AC4-C989FAE632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9"/>
            <a:ext cx="1280160" cy="265335"/>
          </a:xfrm>
          <a:prstGeom prst="rect">
            <a:avLst/>
          </a:prstGeom>
        </p:spPr>
      </p:pic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D44C8C58-5417-F20F-CE72-487729D4C37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97917" y="1688464"/>
            <a:ext cx="11796171" cy="443484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None/>
              <a:defRPr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5pPr>
          </a:lstStyle>
          <a:p>
            <a:r>
              <a:rPr lang="en-US" sz="2400"/>
              <a:t>Click to edit text</a:t>
            </a:r>
          </a:p>
          <a:p>
            <a:pPr marL="406361" lvl="1" indent="-242865"/>
            <a:r>
              <a:rPr lang="en-US" sz="2000"/>
              <a:t>Second level</a:t>
            </a:r>
          </a:p>
          <a:p>
            <a:pPr marL="744464" lvl="2" indent="-220641"/>
            <a:r>
              <a:rPr lang="en-US" sz="1800"/>
              <a:t>Third level</a:t>
            </a:r>
          </a:p>
          <a:p>
            <a:pPr marL="1206381" lvl="3" indent="-234927"/>
            <a:r>
              <a:rPr lang="en-US" sz="1600"/>
              <a:t>Fourth level</a:t>
            </a:r>
          </a:p>
          <a:p>
            <a:pPr marL="1715917" lvl="4" indent="-226992"/>
            <a:r>
              <a:rPr lang="en-US" sz="160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8984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 background,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6313D4-977E-A5F2-6EC7-B1462BF548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5072" y="269044"/>
            <a:ext cx="11801856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No background, no footer layout – Click to add slide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4DF489C-64CD-4A63-833D-6B9A60F58F1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95072" y="989734"/>
            <a:ext cx="11801856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D7BB8B2-4A22-8A66-8036-6D8CE72F8D66}"/>
              </a:ext>
            </a:extLst>
          </p:cNvPr>
          <p:cNvCxnSpPr>
            <a:cxnSpLocks/>
          </p:cNvCxnSpPr>
          <p:nvPr userDrawn="1"/>
        </p:nvCxnSpPr>
        <p:spPr>
          <a:xfrm>
            <a:off x="5258849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EEB9A123-42CF-9EF7-202E-ED7386AB1F8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95072" y="1688464"/>
            <a:ext cx="11801856" cy="443484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None/>
              <a:defRPr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5pPr>
          </a:lstStyle>
          <a:p>
            <a:r>
              <a:rPr lang="en-US" sz="2400"/>
              <a:t>Click to edit text</a:t>
            </a:r>
          </a:p>
          <a:p>
            <a:pPr marL="406361" lvl="1" indent="-242865"/>
            <a:r>
              <a:rPr lang="en-US" sz="2000"/>
              <a:t>Second level</a:t>
            </a:r>
          </a:p>
          <a:p>
            <a:pPr marL="744464" lvl="2" indent="-220641"/>
            <a:r>
              <a:rPr lang="en-US" sz="1800"/>
              <a:t>Third level</a:t>
            </a:r>
          </a:p>
          <a:p>
            <a:pPr marL="1206381" lvl="3" indent="-234927"/>
            <a:r>
              <a:rPr lang="en-US" sz="1600"/>
              <a:t>Fourth level</a:t>
            </a:r>
          </a:p>
          <a:p>
            <a:pPr marL="1715917" lvl="4" indent="-226992"/>
            <a:r>
              <a:rPr lang="en-US" sz="160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96840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ckground and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FA822A4-B2F7-C631-91E2-4BD1209D7809}"/>
              </a:ext>
            </a:extLst>
          </p:cNvPr>
          <p:cNvGrpSpPr/>
          <p:nvPr userDrawn="1"/>
        </p:nvGrpSpPr>
        <p:grpSpPr>
          <a:xfrm rot="10800000">
            <a:off x="12033" y="4830966"/>
            <a:ext cx="6921331" cy="6921331"/>
            <a:chOff x="105150" y="-3122465"/>
            <a:chExt cx="5720108" cy="5720108"/>
          </a:xfrm>
        </p:grpSpPr>
        <p:sp>
          <p:nvSpPr>
            <p:cNvPr id="11" name="Chord 10">
              <a:extLst>
                <a:ext uri="{FF2B5EF4-FFF2-40B4-BE49-F238E27FC236}">
                  <a16:creationId xmlns:a16="http://schemas.microsoft.com/office/drawing/2014/main" id="{34A4E3B5-C00F-E00B-24E5-D0F1E3B3801E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261286"/>
                <a:gd name="adj2" fmla="val 9655466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2" name="Chord 11">
              <a:extLst>
                <a:ext uri="{FF2B5EF4-FFF2-40B4-BE49-F238E27FC236}">
                  <a16:creationId xmlns:a16="http://schemas.microsoft.com/office/drawing/2014/main" id="{6A8D66C2-1067-4EA5-495B-48BBCE58B32A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316505"/>
                <a:gd name="adj2" fmla="val 9253254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3" name="Chord 12">
              <a:extLst>
                <a:ext uri="{FF2B5EF4-FFF2-40B4-BE49-F238E27FC236}">
                  <a16:creationId xmlns:a16="http://schemas.microsoft.com/office/drawing/2014/main" id="{EA1CE5E8-44F0-898E-5207-31ACD20D8153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808574"/>
                <a:gd name="adj2" fmla="val 8936025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0BAC59C-0883-64A3-8BA5-74A88469C376}"/>
              </a:ext>
            </a:extLst>
          </p:cNvPr>
          <p:cNvGrpSpPr/>
          <p:nvPr userDrawn="1"/>
        </p:nvGrpSpPr>
        <p:grpSpPr>
          <a:xfrm>
            <a:off x="6064163" y="-3899901"/>
            <a:ext cx="7613464" cy="7613464"/>
            <a:chOff x="105150" y="-3122465"/>
            <a:chExt cx="5720108" cy="5720108"/>
          </a:xfrm>
        </p:grpSpPr>
        <p:sp>
          <p:nvSpPr>
            <p:cNvPr id="15" name="Chord 14">
              <a:extLst>
                <a:ext uri="{FF2B5EF4-FFF2-40B4-BE49-F238E27FC236}">
                  <a16:creationId xmlns:a16="http://schemas.microsoft.com/office/drawing/2014/main" id="{C39A5B3A-9F7B-B7F4-EFF8-81960CFA3883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6" name="Chord 15">
              <a:extLst>
                <a:ext uri="{FF2B5EF4-FFF2-40B4-BE49-F238E27FC236}">
                  <a16:creationId xmlns:a16="http://schemas.microsoft.com/office/drawing/2014/main" id="{26377B58-F47E-E4D0-1818-47D58541CAAB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7" name="Chord 16">
              <a:extLst>
                <a:ext uri="{FF2B5EF4-FFF2-40B4-BE49-F238E27FC236}">
                  <a16:creationId xmlns:a16="http://schemas.microsoft.com/office/drawing/2014/main" id="{EF1DDBF3-57DD-F669-4BAE-EDD64389A992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98D662-88FE-516B-7290-B301466CF50C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99853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C28233B-55CC-6D73-7FF9-4A451201EB80}"/>
              </a:ext>
            </a:extLst>
          </p:cNvPr>
          <p:cNvSpPr txBox="1"/>
          <p:nvPr userDrawn="1"/>
        </p:nvSpPr>
        <p:spPr>
          <a:xfrm>
            <a:off x="408927" y="6505106"/>
            <a:ext cx="785793" cy="2078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28561"/>
            <a:r>
              <a:rPr lang="en-US" sz="751">
                <a:solidFill>
                  <a:srgbClr val="000000">
                    <a:lumMod val="65000"/>
                    <a:lumOff val="3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icus.com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1E428F-C172-72DD-8790-53BB80E0E4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441" y="6483801"/>
            <a:ext cx="215763" cy="215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2041669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629"/>
          <a:stretch/>
        </p:blipFill>
        <p:spPr>
          <a:xfrm>
            <a:off x="0" y="0"/>
            <a:ext cx="3953437" cy="6858000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B8ADFF3-CB7C-2340-DA65-45BD32B7DA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579" y="2164796"/>
            <a:ext cx="4351788" cy="2543175"/>
          </a:xfrm>
        </p:spPr>
        <p:txBody>
          <a:bodyPr lIns="0" rIns="0" anchor="ctr">
            <a:normAutofit/>
          </a:bodyPr>
          <a:lstStyle>
            <a:lvl1pPr marL="0" indent="0">
              <a:lnSpc>
                <a:spcPct val="100000"/>
              </a:lnSpc>
              <a:buNone/>
              <a:defRPr sz="3200" b="1" spc="40" baseline="0">
                <a:solidFill>
                  <a:schemeClr val="accent1"/>
                </a:solidFill>
              </a:defRPr>
            </a:lvl1pPr>
            <a:lvl2pPr marL="6351" indent="0">
              <a:lnSpc>
                <a:spcPct val="100000"/>
              </a:lnSpc>
              <a:buNone/>
              <a:tabLst/>
              <a:defRPr sz="2400" spc="40">
                <a:solidFill>
                  <a:schemeClr val="accent1"/>
                </a:solidFill>
              </a:defRPr>
            </a:lvl2pPr>
            <a:lvl3pPr marL="6351" indent="0">
              <a:lnSpc>
                <a:spcPct val="100000"/>
              </a:lnSpc>
              <a:buNone/>
              <a:tabLst/>
              <a:defRPr sz="1800" spc="4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4" y="0"/>
            <a:ext cx="3953437" cy="6858000"/>
          </a:xfrm>
          <a:prstGeom prst="rect">
            <a:avLst/>
          </a:prstGeom>
          <a:solidFill>
            <a:schemeClr val="accent5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2168952" y="1655092"/>
            <a:ext cx="3566160" cy="3566160"/>
          </a:xfrm>
          <a:prstGeom prst="arc">
            <a:avLst>
              <a:gd name="adj1" fmla="val 6896465"/>
              <a:gd name="adj2" fmla="val 8818805"/>
            </a:avLst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02C61BF-C069-0363-B0D2-DAA6898F7DC8}"/>
              </a:ext>
            </a:extLst>
          </p:cNvPr>
          <p:cNvSpPr>
            <a:spLocks noChangeAspect="1"/>
          </p:cNvSpPr>
          <p:nvPr userDrawn="1"/>
        </p:nvSpPr>
        <p:spPr>
          <a:xfrm>
            <a:off x="2449655" y="1955899"/>
            <a:ext cx="2971800" cy="29718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6E5DF571-44A5-A36E-77C0-B0517DF656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71318" y="2173587"/>
            <a:ext cx="2528479" cy="253643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Arc 17">
            <a:extLst>
              <a:ext uri="{FF2B5EF4-FFF2-40B4-BE49-F238E27FC236}">
                <a16:creationId xmlns:a16="http://schemas.microsoft.com/office/drawing/2014/main" id="{C5E26A47-661A-77D8-1206-E7E0EFB71F49}"/>
              </a:ext>
            </a:extLst>
          </p:cNvPr>
          <p:cNvSpPr/>
          <p:nvPr userDrawn="1"/>
        </p:nvSpPr>
        <p:spPr>
          <a:xfrm>
            <a:off x="2247781" y="1734205"/>
            <a:ext cx="3408219" cy="3408219"/>
          </a:xfrm>
          <a:prstGeom prst="arc">
            <a:avLst>
              <a:gd name="adj1" fmla="val 16195710"/>
              <a:gd name="adj2" fmla="val 19139618"/>
            </a:avLst>
          </a:prstGeom>
          <a:ln w="38100">
            <a:solidFill>
              <a:schemeClr val="accent5">
                <a:alpha val="7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F8F06EE1-90EC-7EA3-C759-84EE4D6E2330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5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5965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4992">
          <p15:clr>
            <a:srgbClr val="FBAE40"/>
          </p15:clr>
        </p15:guide>
      </p15:sldGuideLst>
    </p:ext>
  </p:extLs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086" y="4235788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30557" y="4235788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2026" y="4235788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3497" y="4235788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4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82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916B36FD-E9C7-0EB7-4644-B045FADB85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9281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4ED6FD4A-B9F9-0837-DB72-5C770519EEF2}"/>
              </a:ext>
            </a:extLst>
          </p:cNvPr>
          <p:cNvSpPr/>
          <p:nvPr userDrawn="1"/>
        </p:nvSpPr>
        <p:spPr>
          <a:xfrm>
            <a:off x="832574" y="1817947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3879B161-1AE2-FADA-334A-EFF2705442B2}"/>
              </a:ext>
            </a:extLst>
          </p:cNvPr>
          <p:cNvSpPr/>
          <p:nvPr userDrawn="1"/>
        </p:nvSpPr>
        <p:spPr>
          <a:xfrm>
            <a:off x="832574" y="1817947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7328D67A-6990-6860-7D63-8EBD5F23BAC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50749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2ED2785D-F10D-C3F1-CD79-DDF830F565C7}"/>
              </a:ext>
            </a:extLst>
          </p:cNvPr>
          <p:cNvSpPr/>
          <p:nvPr userDrawn="1"/>
        </p:nvSpPr>
        <p:spPr>
          <a:xfrm>
            <a:off x="3634045" y="1817947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D57C4C20-7530-E470-7383-AE41F046A1D7}"/>
              </a:ext>
            </a:extLst>
          </p:cNvPr>
          <p:cNvSpPr/>
          <p:nvPr userDrawn="1"/>
        </p:nvSpPr>
        <p:spPr>
          <a:xfrm>
            <a:off x="3634045" y="1817947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D32EAB26-5370-6E5A-64B1-4E63CC98E0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52221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C0AD66CC-EC9B-A4CD-A7B9-42ED1646CB6C}"/>
              </a:ext>
            </a:extLst>
          </p:cNvPr>
          <p:cNvSpPr/>
          <p:nvPr userDrawn="1"/>
        </p:nvSpPr>
        <p:spPr>
          <a:xfrm>
            <a:off x="6435514" y="1817947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3" name="Arc 22">
            <a:extLst>
              <a:ext uri="{FF2B5EF4-FFF2-40B4-BE49-F238E27FC236}">
                <a16:creationId xmlns:a16="http://schemas.microsoft.com/office/drawing/2014/main" id="{6E724543-4743-391D-133C-C13841B63EA8}"/>
              </a:ext>
            </a:extLst>
          </p:cNvPr>
          <p:cNvSpPr/>
          <p:nvPr userDrawn="1"/>
        </p:nvSpPr>
        <p:spPr>
          <a:xfrm>
            <a:off x="6435514" y="1817947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A422CF18-5A3F-9CEA-0302-225E0F8673C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453693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Arc 24">
            <a:extLst>
              <a:ext uri="{FF2B5EF4-FFF2-40B4-BE49-F238E27FC236}">
                <a16:creationId xmlns:a16="http://schemas.microsoft.com/office/drawing/2014/main" id="{77D2335B-E767-A773-6A8A-16A2CC76473A}"/>
              </a:ext>
            </a:extLst>
          </p:cNvPr>
          <p:cNvSpPr/>
          <p:nvPr userDrawn="1"/>
        </p:nvSpPr>
        <p:spPr>
          <a:xfrm>
            <a:off x="9236985" y="1817947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6" name="Arc 25">
            <a:extLst>
              <a:ext uri="{FF2B5EF4-FFF2-40B4-BE49-F238E27FC236}">
                <a16:creationId xmlns:a16="http://schemas.microsoft.com/office/drawing/2014/main" id="{4232EF04-DFEA-B19B-2994-47F6D5F805CF}"/>
              </a:ext>
            </a:extLst>
          </p:cNvPr>
          <p:cNvSpPr/>
          <p:nvPr userDrawn="1"/>
        </p:nvSpPr>
        <p:spPr>
          <a:xfrm>
            <a:off x="9236985" y="1817947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DB18C11A-0BED-0028-13BD-7C1EE0E0DCC4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5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28" name="Picture 2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A9F90631-A342-0DF5-9F46-F9119EB381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9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713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629"/>
          <a:stretch/>
        </p:blipFill>
        <p:spPr>
          <a:xfrm>
            <a:off x="0" y="0"/>
            <a:ext cx="3953437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4" y="0"/>
            <a:ext cx="3953437" cy="6858000"/>
          </a:xfrm>
          <a:prstGeom prst="rect">
            <a:avLst/>
          </a:prstGeom>
          <a:solidFill>
            <a:schemeClr val="accent3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04211FC1-A1D3-9CB4-C1BB-A6B6AB173BB1}"/>
              </a:ext>
            </a:extLst>
          </p:cNvPr>
          <p:cNvSpPr>
            <a:spLocks noChangeAspect="1"/>
          </p:cNvSpPr>
          <p:nvPr userDrawn="1"/>
        </p:nvSpPr>
        <p:spPr>
          <a:xfrm>
            <a:off x="2449655" y="1955899"/>
            <a:ext cx="2971800" cy="29718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0" name="Picture Placeholder 10">
            <a:extLst>
              <a:ext uri="{FF2B5EF4-FFF2-40B4-BE49-F238E27FC236}">
                <a16:creationId xmlns:a16="http://schemas.microsoft.com/office/drawing/2014/main" id="{810BDFDA-EE48-88A2-8966-9DFA17417D2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71318" y="2173587"/>
            <a:ext cx="2528479" cy="253643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2168952" y="1655092"/>
            <a:ext cx="3566160" cy="3566160"/>
          </a:xfrm>
          <a:prstGeom prst="arc">
            <a:avLst>
              <a:gd name="adj1" fmla="val 6896465"/>
              <a:gd name="adj2" fmla="val 8818805"/>
            </a:avLst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" name="Arc 2">
            <a:extLst>
              <a:ext uri="{FF2B5EF4-FFF2-40B4-BE49-F238E27FC236}">
                <a16:creationId xmlns:a16="http://schemas.microsoft.com/office/drawing/2014/main" id="{8C8FF18D-29A5-1F5D-7963-9FDA4BC66886}"/>
              </a:ext>
            </a:extLst>
          </p:cNvPr>
          <p:cNvSpPr/>
          <p:nvPr userDrawn="1"/>
        </p:nvSpPr>
        <p:spPr>
          <a:xfrm>
            <a:off x="2247781" y="1734205"/>
            <a:ext cx="3408219" cy="3408219"/>
          </a:xfrm>
          <a:prstGeom prst="arc">
            <a:avLst>
              <a:gd name="adj1" fmla="val 16195710"/>
              <a:gd name="adj2" fmla="val 19139618"/>
            </a:avLst>
          </a:prstGeom>
          <a:ln w="38100">
            <a:solidFill>
              <a:schemeClr val="accent3">
                <a:alpha val="7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08ADA7B-80D4-677E-C859-DE8FB09DAA4E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5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51D0599B-9F14-59F6-48C2-398747F4A8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579" y="2164796"/>
            <a:ext cx="4351788" cy="2543175"/>
          </a:xfrm>
        </p:spPr>
        <p:txBody>
          <a:bodyPr lIns="0" rIns="0" anchor="ctr">
            <a:normAutofit/>
          </a:bodyPr>
          <a:lstStyle>
            <a:lvl1pPr marL="0" indent="0">
              <a:lnSpc>
                <a:spcPct val="100000"/>
              </a:lnSpc>
              <a:buNone/>
              <a:defRPr sz="3200" b="1" spc="40" baseline="0">
                <a:solidFill>
                  <a:schemeClr val="accent1"/>
                </a:solidFill>
              </a:defRPr>
            </a:lvl1pPr>
            <a:lvl2pPr marL="6351" indent="0">
              <a:lnSpc>
                <a:spcPct val="100000"/>
              </a:lnSpc>
              <a:buNone/>
              <a:tabLst/>
              <a:defRPr sz="2400" spc="40">
                <a:solidFill>
                  <a:schemeClr val="accent1"/>
                </a:solidFill>
              </a:defRPr>
            </a:lvl2pPr>
            <a:lvl3pPr marL="6351" indent="0">
              <a:lnSpc>
                <a:spcPct val="100000"/>
              </a:lnSpc>
              <a:buNone/>
              <a:tabLst/>
              <a:defRPr sz="1800" spc="4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</p:spTree>
    <p:extLst>
      <p:ext uri="{BB962C8B-B14F-4D97-AF65-F5344CB8AC3E}">
        <p14:creationId xmlns:p14="http://schemas.microsoft.com/office/powerpoint/2010/main" val="4141133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499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-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50AB8BE2-3203-B29A-6549-F4662A7362DE}"/>
              </a:ext>
            </a:extLst>
          </p:cNvPr>
          <p:cNvGrpSpPr/>
          <p:nvPr userDrawn="1"/>
        </p:nvGrpSpPr>
        <p:grpSpPr>
          <a:xfrm>
            <a:off x="7392508" y="-3678194"/>
            <a:ext cx="5720108" cy="5720108"/>
            <a:chOff x="105150" y="-3122465"/>
            <a:chExt cx="5720108" cy="5720108"/>
          </a:xfrm>
        </p:grpSpPr>
        <p:sp>
          <p:nvSpPr>
            <p:cNvPr id="30" name="Chord 29">
              <a:extLst>
                <a:ext uri="{FF2B5EF4-FFF2-40B4-BE49-F238E27FC236}">
                  <a16:creationId xmlns:a16="http://schemas.microsoft.com/office/drawing/2014/main" id="{1A9E727C-B5A7-DDC4-5F65-307DD1BC2ACA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972540"/>
                <a:gd name="adj2" fmla="val 988089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1" name="Chord 30">
              <a:extLst>
                <a:ext uri="{FF2B5EF4-FFF2-40B4-BE49-F238E27FC236}">
                  <a16:creationId xmlns:a16="http://schemas.microsoft.com/office/drawing/2014/main" id="{D831F826-05DC-A9B0-1C1D-BEE636C2AB32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171149"/>
                <a:gd name="adj2" fmla="val 959543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2" name="Chord 31">
              <a:extLst>
                <a:ext uri="{FF2B5EF4-FFF2-40B4-BE49-F238E27FC236}">
                  <a16:creationId xmlns:a16="http://schemas.microsoft.com/office/drawing/2014/main" id="{4EF2C1D6-D255-62B4-D41F-19567F524BA0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517033"/>
                <a:gd name="adj2" fmla="val 9345714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E1A43A9-A101-1699-F9ED-D93E9BCFA3AA}"/>
              </a:ext>
            </a:extLst>
          </p:cNvPr>
          <p:cNvGrpSpPr/>
          <p:nvPr userDrawn="1"/>
        </p:nvGrpSpPr>
        <p:grpSpPr>
          <a:xfrm rot="10800000">
            <a:off x="-989286" y="5065529"/>
            <a:ext cx="5720108" cy="5720108"/>
            <a:chOff x="105150" y="-3122465"/>
            <a:chExt cx="5720108" cy="5720108"/>
          </a:xfrm>
        </p:grpSpPr>
        <p:sp>
          <p:nvSpPr>
            <p:cNvPr id="26" name="Chord 25">
              <a:extLst>
                <a:ext uri="{FF2B5EF4-FFF2-40B4-BE49-F238E27FC236}">
                  <a16:creationId xmlns:a16="http://schemas.microsoft.com/office/drawing/2014/main" id="{789F3800-E40C-8693-B5C5-16EDBA3B954E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215574"/>
                <a:gd name="adj2" fmla="val 9610099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7" name="Chord 26">
              <a:extLst>
                <a:ext uri="{FF2B5EF4-FFF2-40B4-BE49-F238E27FC236}">
                  <a16:creationId xmlns:a16="http://schemas.microsoft.com/office/drawing/2014/main" id="{13C2E123-3187-2B89-C07D-A1B2E77F3893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503614"/>
                <a:gd name="adj2" fmla="val 9282250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8" name="Chord 27">
              <a:extLst>
                <a:ext uri="{FF2B5EF4-FFF2-40B4-BE49-F238E27FC236}">
                  <a16:creationId xmlns:a16="http://schemas.microsoft.com/office/drawing/2014/main" id="{016E9895-16D1-6E83-FA72-F2BF6E083EC4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82273"/>
                <a:gd name="adj2" fmla="val 8808404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B5E0138-3A7C-947A-1805-6A974EDC98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no footer – to keep one line if possib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F3D3896-21F7-E606-32AE-78C80324F0E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6CCFDFF-0D99-CD81-3E40-E7EA1D9C0266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" name="Text Placeholder 16">
            <a:extLst>
              <a:ext uri="{FF2B5EF4-FFF2-40B4-BE49-F238E27FC236}">
                <a16:creationId xmlns:a16="http://schemas.microsoft.com/office/drawing/2014/main" id="{0112EF11-E141-9EE4-6AF3-7ED9D928BE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9" y="1696290"/>
            <a:ext cx="10972800" cy="4403721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en-US" sz="2400"/>
              <a:t>Click to edit text</a:t>
            </a:r>
          </a:p>
          <a:p>
            <a:pPr marL="406390" lvl="1" indent="-242882"/>
            <a:r>
              <a:rPr lang="en-US" sz="2000"/>
              <a:t>Second level</a:t>
            </a:r>
          </a:p>
          <a:p>
            <a:pPr marL="744520" lvl="2" indent="-220657"/>
            <a:r>
              <a:rPr lang="en-US" sz="1800"/>
              <a:t>Third level</a:t>
            </a:r>
          </a:p>
          <a:p>
            <a:pPr marL="1206470" lvl="3" indent="-234945"/>
            <a:r>
              <a:rPr lang="en-US" sz="1600"/>
              <a:t>Fourth level</a:t>
            </a:r>
          </a:p>
          <a:p>
            <a:pPr marL="1716045" lvl="4" indent="-227008"/>
            <a:r>
              <a:rPr lang="en-US" sz="160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27833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086" y="4235788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30557" y="4235788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2026" y="4235788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3497" y="4235788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4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82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916B36FD-E9C7-0EB7-4644-B045FADB85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9281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4ED6FD4A-B9F9-0837-DB72-5C770519EEF2}"/>
              </a:ext>
            </a:extLst>
          </p:cNvPr>
          <p:cNvSpPr/>
          <p:nvPr userDrawn="1"/>
        </p:nvSpPr>
        <p:spPr>
          <a:xfrm>
            <a:off x="832574" y="1817947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3879B161-1AE2-FADA-334A-EFF2705442B2}"/>
              </a:ext>
            </a:extLst>
          </p:cNvPr>
          <p:cNvSpPr/>
          <p:nvPr userDrawn="1"/>
        </p:nvSpPr>
        <p:spPr>
          <a:xfrm>
            <a:off x="832574" y="1817947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7328D67A-6990-6860-7D63-8EBD5F23BAC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50749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2ED2785D-F10D-C3F1-CD79-DDF830F565C7}"/>
              </a:ext>
            </a:extLst>
          </p:cNvPr>
          <p:cNvSpPr/>
          <p:nvPr userDrawn="1"/>
        </p:nvSpPr>
        <p:spPr>
          <a:xfrm>
            <a:off x="3634045" y="1817947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D57C4C20-7530-E470-7383-AE41F046A1D7}"/>
              </a:ext>
            </a:extLst>
          </p:cNvPr>
          <p:cNvSpPr/>
          <p:nvPr userDrawn="1"/>
        </p:nvSpPr>
        <p:spPr>
          <a:xfrm>
            <a:off x="3634045" y="1817947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D32EAB26-5370-6E5A-64B1-4E63CC98E0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52221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C0AD66CC-EC9B-A4CD-A7B9-42ED1646CB6C}"/>
              </a:ext>
            </a:extLst>
          </p:cNvPr>
          <p:cNvSpPr/>
          <p:nvPr userDrawn="1"/>
        </p:nvSpPr>
        <p:spPr>
          <a:xfrm>
            <a:off x="6435514" y="1817947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3" name="Arc 22">
            <a:extLst>
              <a:ext uri="{FF2B5EF4-FFF2-40B4-BE49-F238E27FC236}">
                <a16:creationId xmlns:a16="http://schemas.microsoft.com/office/drawing/2014/main" id="{6E724543-4743-391D-133C-C13841B63EA8}"/>
              </a:ext>
            </a:extLst>
          </p:cNvPr>
          <p:cNvSpPr/>
          <p:nvPr userDrawn="1"/>
        </p:nvSpPr>
        <p:spPr>
          <a:xfrm>
            <a:off x="6435514" y="1817947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A422CF18-5A3F-9CEA-0302-225E0F8673C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453693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Arc 24">
            <a:extLst>
              <a:ext uri="{FF2B5EF4-FFF2-40B4-BE49-F238E27FC236}">
                <a16:creationId xmlns:a16="http://schemas.microsoft.com/office/drawing/2014/main" id="{77D2335B-E767-A773-6A8A-16A2CC76473A}"/>
              </a:ext>
            </a:extLst>
          </p:cNvPr>
          <p:cNvSpPr/>
          <p:nvPr userDrawn="1"/>
        </p:nvSpPr>
        <p:spPr>
          <a:xfrm>
            <a:off x="9236985" y="1817947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6" name="Arc 25">
            <a:extLst>
              <a:ext uri="{FF2B5EF4-FFF2-40B4-BE49-F238E27FC236}">
                <a16:creationId xmlns:a16="http://schemas.microsoft.com/office/drawing/2014/main" id="{4232EF04-DFEA-B19B-2994-47F6D5F805CF}"/>
              </a:ext>
            </a:extLst>
          </p:cNvPr>
          <p:cNvSpPr/>
          <p:nvPr userDrawn="1"/>
        </p:nvSpPr>
        <p:spPr>
          <a:xfrm>
            <a:off x="9236985" y="1817947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4BECF39-AEC7-190C-DCFF-404879FB2D42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5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26CF2825-01B8-E296-3BF9-CE9648CD87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9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868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629"/>
          <a:stretch/>
        </p:blipFill>
        <p:spPr>
          <a:xfrm>
            <a:off x="0" y="0"/>
            <a:ext cx="3953437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4" y="0"/>
            <a:ext cx="3953437" cy="6858000"/>
          </a:xfrm>
          <a:prstGeom prst="rect">
            <a:avLst/>
          </a:prstGeom>
          <a:solidFill>
            <a:schemeClr val="accent4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2168952" y="1655092"/>
            <a:ext cx="3566160" cy="3566160"/>
          </a:xfrm>
          <a:prstGeom prst="arc">
            <a:avLst>
              <a:gd name="adj1" fmla="val 6896465"/>
              <a:gd name="adj2" fmla="val 8818805"/>
            </a:avLst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A5158757-180A-27F0-F391-4AF4A52DD295}"/>
              </a:ext>
            </a:extLst>
          </p:cNvPr>
          <p:cNvSpPr>
            <a:spLocks noChangeAspect="1"/>
          </p:cNvSpPr>
          <p:nvPr userDrawn="1"/>
        </p:nvSpPr>
        <p:spPr>
          <a:xfrm>
            <a:off x="2449655" y="1955899"/>
            <a:ext cx="2971800" cy="29718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D3223CE2-BE96-BA32-BC41-72D7C8E35C4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71318" y="2173587"/>
            <a:ext cx="2528479" cy="253643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AD2AA2F8-DEF1-2E59-2A2C-DA7228240DFD}"/>
              </a:ext>
            </a:extLst>
          </p:cNvPr>
          <p:cNvSpPr/>
          <p:nvPr userDrawn="1"/>
        </p:nvSpPr>
        <p:spPr>
          <a:xfrm>
            <a:off x="2247781" y="1734205"/>
            <a:ext cx="3408219" cy="3408219"/>
          </a:xfrm>
          <a:prstGeom prst="arc">
            <a:avLst>
              <a:gd name="adj1" fmla="val 16195710"/>
              <a:gd name="adj2" fmla="val 19139618"/>
            </a:avLst>
          </a:prstGeom>
          <a:ln w="38100">
            <a:solidFill>
              <a:schemeClr val="accent4">
                <a:alpha val="7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F339642-4EBF-39A8-1E9D-74A6E5C296FD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5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F19CFD58-C58F-6313-C173-CDD5F51E2F0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579" y="2164796"/>
            <a:ext cx="4351788" cy="2543175"/>
          </a:xfrm>
        </p:spPr>
        <p:txBody>
          <a:bodyPr lIns="0" rIns="0" anchor="ctr">
            <a:normAutofit/>
          </a:bodyPr>
          <a:lstStyle>
            <a:lvl1pPr marL="0" indent="0">
              <a:lnSpc>
                <a:spcPct val="100000"/>
              </a:lnSpc>
              <a:buNone/>
              <a:defRPr sz="3200" b="1" spc="40" baseline="0">
                <a:solidFill>
                  <a:schemeClr val="accent1"/>
                </a:solidFill>
              </a:defRPr>
            </a:lvl1pPr>
            <a:lvl2pPr marL="6351" indent="0">
              <a:lnSpc>
                <a:spcPct val="100000"/>
              </a:lnSpc>
              <a:buNone/>
              <a:tabLst/>
              <a:defRPr sz="2400" spc="40">
                <a:solidFill>
                  <a:schemeClr val="accent1"/>
                </a:solidFill>
              </a:defRPr>
            </a:lvl2pPr>
            <a:lvl3pPr marL="6351" indent="0">
              <a:lnSpc>
                <a:spcPct val="100000"/>
              </a:lnSpc>
              <a:buNone/>
              <a:tabLst/>
              <a:defRPr sz="1800" spc="4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</p:spTree>
    <p:extLst>
      <p:ext uri="{BB962C8B-B14F-4D97-AF65-F5344CB8AC3E}">
        <p14:creationId xmlns:p14="http://schemas.microsoft.com/office/powerpoint/2010/main" val="1546616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4992">
          <p15:clr>
            <a:srgbClr val="FBAE40"/>
          </p15:clr>
        </p15:guide>
      </p15:sldGuideLst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086" y="4235788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30557" y="4235788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2026" y="4235788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3497" y="4235788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4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82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916B36FD-E9C7-0EB7-4644-B045FADB85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9281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4ED6FD4A-B9F9-0837-DB72-5C770519EEF2}"/>
              </a:ext>
            </a:extLst>
          </p:cNvPr>
          <p:cNvSpPr/>
          <p:nvPr userDrawn="1"/>
        </p:nvSpPr>
        <p:spPr>
          <a:xfrm>
            <a:off x="832574" y="1817947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3879B161-1AE2-FADA-334A-EFF2705442B2}"/>
              </a:ext>
            </a:extLst>
          </p:cNvPr>
          <p:cNvSpPr/>
          <p:nvPr userDrawn="1"/>
        </p:nvSpPr>
        <p:spPr>
          <a:xfrm>
            <a:off x="832574" y="1817947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7328D67A-6990-6860-7D63-8EBD5F23BAC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50749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2ED2785D-F10D-C3F1-CD79-DDF830F565C7}"/>
              </a:ext>
            </a:extLst>
          </p:cNvPr>
          <p:cNvSpPr/>
          <p:nvPr userDrawn="1"/>
        </p:nvSpPr>
        <p:spPr>
          <a:xfrm>
            <a:off x="3634045" y="1817947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D57C4C20-7530-E470-7383-AE41F046A1D7}"/>
              </a:ext>
            </a:extLst>
          </p:cNvPr>
          <p:cNvSpPr/>
          <p:nvPr userDrawn="1"/>
        </p:nvSpPr>
        <p:spPr>
          <a:xfrm>
            <a:off x="3634045" y="1817947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D32EAB26-5370-6E5A-64B1-4E63CC98E0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52221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C0AD66CC-EC9B-A4CD-A7B9-42ED1646CB6C}"/>
              </a:ext>
            </a:extLst>
          </p:cNvPr>
          <p:cNvSpPr/>
          <p:nvPr userDrawn="1"/>
        </p:nvSpPr>
        <p:spPr>
          <a:xfrm>
            <a:off x="6435514" y="1817947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3" name="Arc 22">
            <a:extLst>
              <a:ext uri="{FF2B5EF4-FFF2-40B4-BE49-F238E27FC236}">
                <a16:creationId xmlns:a16="http://schemas.microsoft.com/office/drawing/2014/main" id="{6E724543-4743-391D-133C-C13841B63EA8}"/>
              </a:ext>
            </a:extLst>
          </p:cNvPr>
          <p:cNvSpPr/>
          <p:nvPr userDrawn="1"/>
        </p:nvSpPr>
        <p:spPr>
          <a:xfrm>
            <a:off x="6435514" y="1817947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A422CF18-5A3F-9CEA-0302-225E0F8673C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453693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Arc 24">
            <a:extLst>
              <a:ext uri="{FF2B5EF4-FFF2-40B4-BE49-F238E27FC236}">
                <a16:creationId xmlns:a16="http://schemas.microsoft.com/office/drawing/2014/main" id="{77D2335B-E767-A773-6A8A-16A2CC76473A}"/>
              </a:ext>
            </a:extLst>
          </p:cNvPr>
          <p:cNvSpPr/>
          <p:nvPr userDrawn="1"/>
        </p:nvSpPr>
        <p:spPr>
          <a:xfrm>
            <a:off x="9236985" y="1817947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6" name="Arc 25">
            <a:extLst>
              <a:ext uri="{FF2B5EF4-FFF2-40B4-BE49-F238E27FC236}">
                <a16:creationId xmlns:a16="http://schemas.microsoft.com/office/drawing/2014/main" id="{4232EF04-DFEA-B19B-2994-47F6D5F805CF}"/>
              </a:ext>
            </a:extLst>
          </p:cNvPr>
          <p:cNvSpPr/>
          <p:nvPr userDrawn="1"/>
        </p:nvSpPr>
        <p:spPr>
          <a:xfrm>
            <a:off x="9236985" y="1817947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DA4AD3B-A48B-FE95-DABE-9280DC42859F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5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2A8C84DE-812B-4CCA-736C-CACC213548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9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485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629"/>
          <a:stretch/>
        </p:blipFill>
        <p:spPr>
          <a:xfrm>
            <a:off x="0" y="0"/>
            <a:ext cx="3953437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-17882" y="0"/>
            <a:ext cx="3953437" cy="6858000"/>
          </a:xfrm>
          <a:prstGeom prst="rect">
            <a:avLst/>
          </a:prstGeom>
          <a:solidFill>
            <a:srgbClr val="D51236">
              <a:alpha val="7098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2168952" y="1655092"/>
            <a:ext cx="3566160" cy="3566160"/>
          </a:xfrm>
          <a:prstGeom prst="arc">
            <a:avLst>
              <a:gd name="adj1" fmla="val 6896465"/>
              <a:gd name="adj2" fmla="val 8818805"/>
            </a:avLst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C5FD2D68-2060-1E2D-2AF0-AC75F6A5380F}"/>
              </a:ext>
            </a:extLst>
          </p:cNvPr>
          <p:cNvSpPr>
            <a:spLocks noChangeAspect="1"/>
          </p:cNvSpPr>
          <p:nvPr userDrawn="1"/>
        </p:nvSpPr>
        <p:spPr>
          <a:xfrm>
            <a:off x="2449655" y="1955899"/>
            <a:ext cx="2971800" cy="29718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FD1A75F9-6602-5301-7392-68323FD6ACD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71318" y="2173587"/>
            <a:ext cx="2528479" cy="253643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2D0A4C88-0868-296B-A427-A0E9FE4F01B7}"/>
              </a:ext>
            </a:extLst>
          </p:cNvPr>
          <p:cNvSpPr/>
          <p:nvPr userDrawn="1"/>
        </p:nvSpPr>
        <p:spPr>
          <a:xfrm>
            <a:off x="2247781" y="1734205"/>
            <a:ext cx="3408219" cy="3408219"/>
          </a:xfrm>
          <a:prstGeom prst="arc">
            <a:avLst>
              <a:gd name="adj1" fmla="val 16195710"/>
              <a:gd name="adj2" fmla="val 19139618"/>
            </a:avLst>
          </a:prstGeom>
          <a:ln w="38100">
            <a:solidFill>
              <a:schemeClr val="accent2">
                <a:alpha val="7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3EE678F-F1A4-5430-C2A7-11B43E0BCCD1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5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C3D6704F-7411-3CDE-9EBF-CA5B7AC402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579" y="2164796"/>
            <a:ext cx="4351788" cy="2543175"/>
          </a:xfrm>
        </p:spPr>
        <p:txBody>
          <a:bodyPr lIns="0" rIns="0" anchor="ctr">
            <a:normAutofit/>
          </a:bodyPr>
          <a:lstStyle>
            <a:lvl1pPr marL="0" indent="0">
              <a:lnSpc>
                <a:spcPct val="100000"/>
              </a:lnSpc>
              <a:buNone/>
              <a:defRPr sz="3200" b="1" spc="40" baseline="0">
                <a:solidFill>
                  <a:schemeClr val="accent1"/>
                </a:solidFill>
              </a:defRPr>
            </a:lvl1pPr>
            <a:lvl2pPr marL="6351" indent="0">
              <a:lnSpc>
                <a:spcPct val="100000"/>
              </a:lnSpc>
              <a:buNone/>
              <a:tabLst/>
              <a:defRPr sz="2400" spc="40">
                <a:solidFill>
                  <a:schemeClr val="accent1"/>
                </a:solidFill>
              </a:defRPr>
            </a:lvl2pPr>
            <a:lvl3pPr marL="6351" indent="0">
              <a:lnSpc>
                <a:spcPct val="100000"/>
              </a:lnSpc>
              <a:buNone/>
              <a:tabLst/>
              <a:defRPr sz="1800" spc="4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</p:spTree>
    <p:extLst>
      <p:ext uri="{BB962C8B-B14F-4D97-AF65-F5344CB8AC3E}">
        <p14:creationId xmlns:p14="http://schemas.microsoft.com/office/powerpoint/2010/main" val="1900129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4992">
          <p15:clr>
            <a:srgbClr val="FBAE40"/>
          </p15:clr>
        </p15:guide>
      </p15:sldGuideLst>
    </p:ext>
  </p:extLs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086" y="4235788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30557" y="4235788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2026" y="4235788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3497" y="4235788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4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82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916B36FD-E9C7-0EB7-4644-B045FADB85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9281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4ED6FD4A-B9F9-0837-DB72-5C770519EEF2}"/>
              </a:ext>
            </a:extLst>
          </p:cNvPr>
          <p:cNvSpPr/>
          <p:nvPr userDrawn="1"/>
        </p:nvSpPr>
        <p:spPr>
          <a:xfrm>
            <a:off x="832574" y="1817947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3879B161-1AE2-FADA-334A-EFF2705442B2}"/>
              </a:ext>
            </a:extLst>
          </p:cNvPr>
          <p:cNvSpPr/>
          <p:nvPr userDrawn="1"/>
        </p:nvSpPr>
        <p:spPr>
          <a:xfrm>
            <a:off x="832574" y="1817947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7328D67A-6990-6860-7D63-8EBD5F23BAC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50749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2ED2785D-F10D-C3F1-CD79-DDF830F565C7}"/>
              </a:ext>
            </a:extLst>
          </p:cNvPr>
          <p:cNvSpPr/>
          <p:nvPr userDrawn="1"/>
        </p:nvSpPr>
        <p:spPr>
          <a:xfrm>
            <a:off x="3634045" y="1817947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D57C4C20-7530-E470-7383-AE41F046A1D7}"/>
              </a:ext>
            </a:extLst>
          </p:cNvPr>
          <p:cNvSpPr/>
          <p:nvPr userDrawn="1"/>
        </p:nvSpPr>
        <p:spPr>
          <a:xfrm>
            <a:off x="3634045" y="1817947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D32EAB26-5370-6E5A-64B1-4E63CC98E0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52221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C0AD66CC-EC9B-A4CD-A7B9-42ED1646CB6C}"/>
              </a:ext>
            </a:extLst>
          </p:cNvPr>
          <p:cNvSpPr/>
          <p:nvPr userDrawn="1"/>
        </p:nvSpPr>
        <p:spPr>
          <a:xfrm>
            <a:off x="6435514" y="1817947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3" name="Arc 22">
            <a:extLst>
              <a:ext uri="{FF2B5EF4-FFF2-40B4-BE49-F238E27FC236}">
                <a16:creationId xmlns:a16="http://schemas.microsoft.com/office/drawing/2014/main" id="{6E724543-4743-391D-133C-C13841B63EA8}"/>
              </a:ext>
            </a:extLst>
          </p:cNvPr>
          <p:cNvSpPr/>
          <p:nvPr userDrawn="1"/>
        </p:nvSpPr>
        <p:spPr>
          <a:xfrm>
            <a:off x="6435514" y="1817947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A422CF18-5A3F-9CEA-0302-225E0F8673C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453693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Arc 24">
            <a:extLst>
              <a:ext uri="{FF2B5EF4-FFF2-40B4-BE49-F238E27FC236}">
                <a16:creationId xmlns:a16="http://schemas.microsoft.com/office/drawing/2014/main" id="{77D2335B-E767-A773-6A8A-16A2CC76473A}"/>
              </a:ext>
            </a:extLst>
          </p:cNvPr>
          <p:cNvSpPr/>
          <p:nvPr userDrawn="1"/>
        </p:nvSpPr>
        <p:spPr>
          <a:xfrm>
            <a:off x="9236985" y="1817947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6" name="Arc 25">
            <a:extLst>
              <a:ext uri="{FF2B5EF4-FFF2-40B4-BE49-F238E27FC236}">
                <a16:creationId xmlns:a16="http://schemas.microsoft.com/office/drawing/2014/main" id="{4232EF04-DFEA-B19B-2994-47F6D5F805CF}"/>
              </a:ext>
            </a:extLst>
          </p:cNvPr>
          <p:cNvSpPr/>
          <p:nvPr userDrawn="1"/>
        </p:nvSpPr>
        <p:spPr>
          <a:xfrm>
            <a:off x="9236985" y="1817947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0DCAA4F-9776-70FE-CFCB-65AFAAC3A1F7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5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993F3D21-E811-18C1-7DE0-F951D98F48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9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894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B938C31-136F-E3FB-281A-3A9C76D977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714" t="-355" r="-937" b="57158"/>
          <a:stretch/>
        </p:blipFill>
        <p:spPr>
          <a:xfrm>
            <a:off x="0" y="4386656"/>
            <a:ext cx="4704080" cy="247134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AE647DC-5977-5FDE-D0BC-58A33AB621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55263" r="11846"/>
          <a:stretch/>
        </p:blipFill>
        <p:spPr>
          <a:xfrm>
            <a:off x="7294880" y="1"/>
            <a:ext cx="4897120" cy="248525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59B427A-D01D-8479-F562-412923A6CD9A}"/>
              </a:ext>
            </a:extLst>
          </p:cNvPr>
          <p:cNvSpPr/>
          <p:nvPr userDrawn="1"/>
        </p:nvSpPr>
        <p:spPr>
          <a:xfrm>
            <a:off x="5339803" y="3536897"/>
            <a:ext cx="1512396" cy="73152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0473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9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1710B9BE-7A8C-BDD1-A5B9-BC375947024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965397" y="3813365"/>
            <a:ext cx="6261215" cy="429635"/>
          </a:xfrm>
        </p:spPr>
        <p:txBody>
          <a:bodyPr lIns="0" rIns="0">
            <a:normAutofit/>
          </a:bodyPr>
          <a:lstStyle>
            <a:lvl1pPr marL="0" indent="0" algn="ctr">
              <a:buNone/>
              <a:defRPr sz="2000"/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C61348C-1DBF-8DC1-15B5-EA29ABE2458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271441" y="1798716"/>
            <a:ext cx="7649123" cy="1606653"/>
          </a:xfrm>
        </p:spPr>
        <p:txBody>
          <a:bodyPr lIns="0" rIns="0" anchor="b">
            <a:noAutofit/>
          </a:bodyPr>
          <a:lstStyle>
            <a:lvl1pPr algn="ctr">
              <a:defRPr sz="3600" b="1" spc="3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4EE7E04-48DB-0550-1A21-B329DCD64F4E}"/>
              </a:ext>
            </a:extLst>
          </p:cNvPr>
          <p:cNvSpPr txBox="1"/>
          <p:nvPr userDrawn="1"/>
        </p:nvSpPr>
        <p:spPr>
          <a:xfrm>
            <a:off x="9326875" y="6529057"/>
            <a:ext cx="232822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800" i="0">
                <a:solidFill>
                  <a:schemeClr val="bg2">
                    <a:lumMod val="50000"/>
                  </a:schemeClr>
                </a:solidFill>
              </a:rPr>
              <a:t>Confidential &amp; Proprietar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37FCD1-5C92-7416-05A6-7A1F91EA8937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5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76311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B938C31-136F-E3FB-281A-3A9C76D977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714" t="-355" r="-937" b="57158"/>
          <a:stretch/>
        </p:blipFill>
        <p:spPr>
          <a:xfrm>
            <a:off x="0" y="4386656"/>
            <a:ext cx="4704080" cy="247134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AE647DC-5977-5FDE-D0BC-58A33AB621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55263" r="11846"/>
          <a:stretch/>
        </p:blipFill>
        <p:spPr>
          <a:xfrm>
            <a:off x="7294880" y="1"/>
            <a:ext cx="4897120" cy="2485259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1710B9BE-7A8C-BDD1-A5B9-BC375947024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19732" y="3342313"/>
            <a:ext cx="6261215" cy="429635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2000"/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C61348C-1DBF-8DC1-15B5-EA29ABE2458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9732" y="1723159"/>
            <a:ext cx="7649123" cy="1606653"/>
          </a:xfrm>
        </p:spPr>
        <p:txBody>
          <a:bodyPr lIns="0" rIns="0" anchor="b">
            <a:noAutofit/>
          </a:bodyPr>
          <a:lstStyle>
            <a:lvl1pPr algn="l">
              <a:defRPr sz="3600" b="1" spc="3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4EE7E04-48DB-0550-1A21-B329DCD64F4E}"/>
              </a:ext>
            </a:extLst>
          </p:cNvPr>
          <p:cNvSpPr txBox="1"/>
          <p:nvPr userDrawn="1"/>
        </p:nvSpPr>
        <p:spPr>
          <a:xfrm>
            <a:off x="9326875" y="6529057"/>
            <a:ext cx="232822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800" i="0">
                <a:solidFill>
                  <a:schemeClr val="bg2">
                    <a:lumMod val="50000"/>
                  </a:schemeClr>
                </a:solidFill>
              </a:rPr>
              <a:t>Confidential &amp; Proprietar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37FCD1-5C92-7416-05A6-7A1F91EA8937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5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784902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764B6067-6702-4074-7FAB-A147E7E11249}"/>
              </a:ext>
            </a:extLst>
          </p:cNvPr>
          <p:cNvGrpSpPr/>
          <p:nvPr userDrawn="1"/>
        </p:nvGrpSpPr>
        <p:grpSpPr>
          <a:xfrm rot="10800000">
            <a:off x="12033" y="4830966"/>
            <a:ext cx="6921331" cy="6921331"/>
            <a:chOff x="105150" y="-3122465"/>
            <a:chExt cx="5720108" cy="5720108"/>
          </a:xfrm>
        </p:grpSpPr>
        <p:sp>
          <p:nvSpPr>
            <p:cNvPr id="4" name="Chord 3">
              <a:extLst>
                <a:ext uri="{FF2B5EF4-FFF2-40B4-BE49-F238E27FC236}">
                  <a16:creationId xmlns:a16="http://schemas.microsoft.com/office/drawing/2014/main" id="{85666469-221D-0EE9-55D1-C24978C0921D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7" name="Chord 6">
              <a:extLst>
                <a:ext uri="{FF2B5EF4-FFF2-40B4-BE49-F238E27FC236}">
                  <a16:creationId xmlns:a16="http://schemas.microsoft.com/office/drawing/2014/main" id="{D08426C2-4774-21FA-C178-C85FD5ECEB96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9" name="Chord 8">
              <a:extLst>
                <a:ext uri="{FF2B5EF4-FFF2-40B4-BE49-F238E27FC236}">
                  <a16:creationId xmlns:a16="http://schemas.microsoft.com/office/drawing/2014/main" id="{A00BA81F-098D-F1CB-5410-26823CEFEAA7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73D7F78-6E24-C853-88D7-82DDB031AFA6}"/>
              </a:ext>
            </a:extLst>
          </p:cNvPr>
          <p:cNvGrpSpPr/>
          <p:nvPr userDrawn="1"/>
        </p:nvGrpSpPr>
        <p:grpSpPr>
          <a:xfrm>
            <a:off x="6064163" y="-3899901"/>
            <a:ext cx="7613464" cy="7613464"/>
            <a:chOff x="105150" y="-3122465"/>
            <a:chExt cx="5720108" cy="5720108"/>
          </a:xfrm>
        </p:grpSpPr>
        <p:sp>
          <p:nvSpPr>
            <p:cNvPr id="13" name="Chord 12">
              <a:extLst>
                <a:ext uri="{FF2B5EF4-FFF2-40B4-BE49-F238E27FC236}">
                  <a16:creationId xmlns:a16="http://schemas.microsoft.com/office/drawing/2014/main" id="{91EB0702-921C-08D3-A185-DD69CB4ADE27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4" name="Chord 13">
              <a:extLst>
                <a:ext uri="{FF2B5EF4-FFF2-40B4-BE49-F238E27FC236}">
                  <a16:creationId xmlns:a16="http://schemas.microsoft.com/office/drawing/2014/main" id="{D8722D47-37FC-3CA2-8458-CC595801012A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5" name="Chord 14">
              <a:extLst>
                <a:ext uri="{FF2B5EF4-FFF2-40B4-BE49-F238E27FC236}">
                  <a16:creationId xmlns:a16="http://schemas.microsoft.com/office/drawing/2014/main" id="{F57013E6-1300-C68C-F61C-A5531DCA8E24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472C3C59-EACF-1047-1DBE-2DE26A38A3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146930" y="1479555"/>
            <a:ext cx="3948113" cy="3948113"/>
          </a:xfrm>
        </p:spPr>
        <p:txBody>
          <a:bodyPr lIns="274320" tIns="274320" rIns="274320" bIns="274320"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or drag and drop to add a photo here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86F1C63-E372-31AB-92A2-6ED61A32FFDF}"/>
              </a:ext>
            </a:extLst>
          </p:cNvPr>
          <p:cNvSpPr/>
          <p:nvPr userDrawn="1"/>
        </p:nvSpPr>
        <p:spPr>
          <a:xfrm>
            <a:off x="624263" y="3766983"/>
            <a:ext cx="1512396" cy="5486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0473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9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8" name="Picture 17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FA358863-BE81-3FE9-B582-FCF88EA161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400" y="1191703"/>
            <a:ext cx="2574333" cy="533048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011CC4DD-D589-D23D-C647-951BD405362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2211" y="2013036"/>
            <a:ext cx="6321588" cy="1606653"/>
          </a:xfrm>
        </p:spPr>
        <p:txBody>
          <a:bodyPr anchor="b">
            <a:noAutofit/>
          </a:bodyPr>
          <a:lstStyle>
            <a:lvl1pPr algn="l">
              <a:defRPr sz="3600" b="1" spc="3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Main Presentation Header Goes Here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7BFBEFDF-0120-C89B-8D76-E495E2DA5E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3378" y="4027685"/>
            <a:ext cx="6261215" cy="429635"/>
          </a:xfrm>
        </p:spPr>
        <p:txBody>
          <a:bodyPr>
            <a:normAutofit/>
          </a:bodyPr>
          <a:lstStyle>
            <a:lvl1pPr marL="0" indent="0" algn="l" defTabSz="9143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11672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</p15:sldGuideLst>
    </p:ext>
  </p:extLs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D924CC1-F0F8-D1AD-04A1-4510503087E6}"/>
              </a:ext>
            </a:extLst>
          </p:cNvPr>
          <p:cNvSpPr/>
          <p:nvPr userDrawn="1"/>
        </p:nvSpPr>
        <p:spPr>
          <a:xfrm>
            <a:off x="838201" y="5883549"/>
            <a:ext cx="3886955" cy="3259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739"/>
            <a:endParaRPr lang="en-US" sz="1497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BA901A1-E9A8-ECDA-E608-DA3D3651535A}"/>
              </a:ext>
            </a:extLst>
          </p:cNvPr>
          <p:cNvSpPr/>
          <p:nvPr userDrawn="1"/>
        </p:nvSpPr>
        <p:spPr>
          <a:xfrm>
            <a:off x="4845869" y="5883549"/>
            <a:ext cx="3886955" cy="32591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739"/>
            <a:endParaRPr lang="en-US" sz="1497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32CD196-5FDD-3D80-583C-57FA147DD869}"/>
              </a:ext>
            </a:extLst>
          </p:cNvPr>
          <p:cNvSpPr/>
          <p:nvPr userDrawn="1"/>
        </p:nvSpPr>
        <p:spPr>
          <a:xfrm>
            <a:off x="838201" y="3324399"/>
            <a:ext cx="3886955" cy="112322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739"/>
            <a:endParaRPr lang="en-US" sz="1497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93969F4-C52A-F89F-4D0D-27167DD41F3B}"/>
              </a:ext>
            </a:extLst>
          </p:cNvPr>
          <p:cNvSpPr/>
          <p:nvPr userDrawn="1"/>
        </p:nvSpPr>
        <p:spPr>
          <a:xfrm>
            <a:off x="838201" y="4561452"/>
            <a:ext cx="3886955" cy="748425"/>
          </a:xfrm>
          <a:prstGeom prst="rect">
            <a:avLst/>
          </a:prstGeom>
          <a:solidFill>
            <a:srgbClr val="E46A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739"/>
            <a:endParaRPr lang="en-US" sz="1497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FF6F24-4A00-1158-FF7D-D82B1DEEB4EF}"/>
              </a:ext>
            </a:extLst>
          </p:cNvPr>
          <p:cNvSpPr/>
          <p:nvPr userDrawn="1"/>
        </p:nvSpPr>
        <p:spPr>
          <a:xfrm>
            <a:off x="4845869" y="3323819"/>
            <a:ext cx="3886955" cy="1123224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739"/>
            <a:endParaRPr lang="en-US" sz="1497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1FC2B62-1518-FE22-1882-16BEF7E5FEEA}"/>
              </a:ext>
            </a:extLst>
          </p:cNvPr>
          <p:cNvSpPr/>
          <p:nvPr userDrawn="1"/>
        </p:nvSpPr>
        <p:spPr>
          <a:xfrm>
            <a:off x="4845869" y="4561452"/>
            <a:ext cx="3886955" cy="7484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739"/>
            <a:endParaRPr lang="en-US" sz="1497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394BBF2-E6FB-8C7D-EC72-1A773FDF398B}"/>
              </a:ext>
            </a:extLst>
          </p:cNvPr>
          <p:cNvSpPr txBox="1"/>
          <p:nvPr userDrawn="1"/>
        </p:nvSpPr>
        <p:spPr>
          <a:xfrm>
            <a:off x="838206" y="2913452"/>
            <a:ext cx="6204641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04739"/>
            <a:r>
              <a:rPr lang="en-US" sz="1867">
                <a:solidFill>
                  <a:srgbClr val="000000"/>
                </a:solidFill>
                <a:latin typeface="Century Gothic" panose="020F0302020204030204"/>
              </a:rPr>
              <a:t>Primary Color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B97F197-529C-D460-BB78-3A9C9E026BED}"/>
              </a:ext>
            </a:extLst>
          </p:cNvPr>
          <p:cNvSpPr txBox="1"/>
          <p:nvPr userDrawn="1"/>
        </p:nvSpPr>
        <p:spPr>
          <a:xfrm>
            <a:off x="838206" y="5462816"/>
            <a:ext cx="6204641" cy="37965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304739"/>
            <a:r>
              <a:rPr lang="en-US" sz="1867">
                <a:solidFill>
                  <a:srgbClr val="000000"/>
                </a:solidFill>
                <a:latin typeface="Century Gothic" panose="020F0302020204030204"/>
              </a:rPr>
              <a:t>Secondary Colors (use sparingly)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8282C96-2F16-5DB3-C31E-9C75ECDBD8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0" y="1812414"/>
            <a:ext cx="3369733" cy="94091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5D8FBF8-7EA5-657B-1B29-7D6E4560D9C2}"/>
              </a:ext>
            </a:extLst>
          </p:cNvPr>
          <p:cNvSpPr txBox="1"/>
          <p:nvPr userDrawn="1"/>
        </p:nvSpPr>
        <p:spPr>
          <a:xfrm>
            <a:off x="4845868" y="2036647"/>
            <a:ext cx="3657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04739"/>
            <a:r>
              <a:rPr lang="en-US" sz="2400">
                <a:solidFill>
                  <a:srgbClr val="000000"/>
                </a:solidFill>
                <a:latin typeface="Century Gothic" panose="020F0302020204030204"/>
              </a:rPr>
              <a:t>Font: Century Gothic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7353C23-F8A2-CB79-3CBB-6174B722C7C6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99853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A2501D1-66FB-AE34-BC94-4A65E8248E36}"/>
              </a:ext>
            </a:extLst>
          </p:cNvPr>
          <p:cNvSpPr txBox="1"/>
          <p:nvPr userDrawn="1"/>
        </p:nvSpPr>
        <p:spPr>
          <a:xfrm>
            <a:off x="408927" y="6505106"/>
            <a:ext cx="785793" cy="2078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28561"/>
            <a:r>
              <a:rPr lang="en-US" sz="751">
                <a:solidFill>
                  <a:srgbClr val="000000">
                    <a:lumMod val="65000"/>
                    <a:lumOff val="3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icus.com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44B501B-2594-ABB2-5A25-CE23D81DC0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441" y="6483801"/>
            <a:ext cx="215763" cy="21576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D4CF73E-C040-D1D3-2A87-60A1C056B1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57422E6F-044F-D77D-BDC7-1429B00514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4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6DC0224-94BB-1BA0-CDAC-FA6A75F6CAD8}"/>
              </a:ext>
            </a:extLst>
          </p:cNvPr>
          <p:cNvCxnSpPr>
            <a:cxnSpLocks/>
          </p:cNvCxnSpPr>
          <p:nvPr userDrawn="1"/>
        </p:nvCxnSpPr>
        <p:spPr>
          <a:xfrm>
            <a:off x="5243082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84586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</p15:sldGuideLst>
    </p:ext>
  </p:extLs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A9E98145-3076-AAFD-4ECF-446ADBDE02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029"/>
            <a:ext cx="10515600" cy="1325563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Branding </a:t>
            </a:r>
            <a:r>
              <a:rPr lang="en-US" b="0">
                <a:solidFill>
                  <a:schemeClr val="tx2"/>
                </a:solidFill>
              </a:rPr>
              <a:t>Guideline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4F371B7-BCEF-C8B3-1119-2D7639C13B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481" y="3305108"/>
            <a:ext cx="2943435" cy="60992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D093B14-3B49-ACC3-6CC9-53603C71517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3" y="4172543"/>
            <a:ext cx="3274087" cy="74548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9E2AB9ED-00DF-B83D-0A9C-D7C262A968CD}"/>
              </a:ext>
            </a:extLst>
          </p:cNvPr>
          <p:cNvSpPr txBox="1"/>
          <p:nvPr userDrawn="1"/>
        </p:nvSpPr>
        <p:spPr>
          <a:xfrm>
            <a:off x="838203" y="2284185"/>
            <a:ext cx="327408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l" defTabSz="2285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emplate Logo</a:t>
            </a:r>
          </a:p>
        </p:txBody>
      </p:sp>
    </p:spTree>
    <p:extLst>
      <p:ext uri="{BB962C8B-B14F-4D97-AF65-F5344CB8AC3E}">
        <p14:creationId xmlns:p14="http://schemas.microsoft.com/office/powerpoint/2010/main" val="17286263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42CF21A0-6A91-895A-CE7E-1B73C0CBC0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05497"/>
            <a:ext cx="10972800" cy="86793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the slide title – use this slide template for longer titles that go on 2 lines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1C59ED0-DFF6-9CFB-E870-E3E5A6ADCF5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1329888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9E6CC12-A8E1-0799-C9E2-B223F4FBBD47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0" name="Picture 9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3B3BD67E-AAB3-7AE8-D165-0936A4B443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ED66CFB-7627-E5C3-BBBC-B369F84A3A0B}"/>
              </a:ext>
            </a:extLst>
          </p:cNvPr>
          <p:cNvCxnSpPr>
            <a:cxnSpLocks/>
          </p:cNvCxnSpPr>
          <p:nvPr userDrawn="1"/>
        </p:nvCxnSpPr>
        <p:spPr>
          <a:xfrm>
            <a:off x="5243078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Text Placeholder 16">
            <a:extLst>
              <a:ext uri="{FF2B5EF4-FFF2-40B4-BE49-F238E27FC236}">
                <a16:creationId xmlns:a16="http://schemas.microsoft.com/office/drawing/2014/main" id="{23185726-DDC2-2F1A-A44E-FB268AAC1B8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9" y="1955681"/>
            <a:ext cx="10972800" cy="4144330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en-US" sz="2400"/>
              <a:t>Click to edit text</a:t>
            </a:r>
          </a:p>
          <a:p>
            <a:pPr marL="406390" lvl="1" indent="-242882"/>
            <a:r>
              <a:rPr lang="en-US" sz="2000"/>
              <a:t>Second level</a:t>
            </a:r>
          </a:p>
          <a:p>
            <a:pPr marL="744520" lvl="2" indent="-220657"/>
            <a:r>
              <a:rPr lang="en-US" sz="1800"/>
              <a:t>Third level</a:t>
            </a:r>
          </a:p>
          <a:p>
            <a:pPr marL="1206470" lvl="3" indent="-234945"/>
            <a:r>
              <a:rPr lang="en-US" sz="1600"/>
              <a:t>Fourth level</a:t>
            </a:r>
          </a:p>
          <a:p>
            <a:pPr marL="1716045" lvl="4" indent="-227008"/>
            <a:r>
              <a:rPr lang="en-US" sz="160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085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F81F94F7-3542-1421-11FF-7E97E3E4A800}"/>
              </a:ext>
            </a:extLst>
          </p:cNvPr>
          <p:cNvGrpSpPr/>
          <p:nvPr userDrawn="1"/>
        </p:nvGrpSpPr>
        <p:grpSpPr>
          <a:xfrm rot="16200000">
            <a:off x="-3927262" y="662867"/>
            <a:ext cx="5720108" cy="5720108"/>
            <a:chOff x="105150" y="-3122465"/>
            <a:chExt cx="5720108" cy="5720108"/>
          </a:xfrm>
        </p:grpSpPr>
        <p:sp>
          <p:nvSpPr>
            <p:cNvPr id="3" name="Chord 2">
              <a:extLst>
                <a:ext uri="{FF2B5EF4-FFF2-40B4-BE49-F238E27FC236}">
                  <a16:creationId xmlns:a16="http://schemas.microsoft.com/office/drawing/2014/main" id="{684D3A4E-C346-0EC6-7CFC-A9071123569B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215574"/>
                <a:gd name="adj2" fmla="val 9610099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4" name="Chord 3">
              <a:extLst>
                <a:ext uri="{FF2B5EF4-FFF2-40B4-BE49-F238E27FC236}">
                  <a16:creationId xmlns:a16="http://schemas.microsoft.com/office/drawing/2014/main" id="{993B4201-EBFE-4641-5859-36A22E3CE52C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503614"/>
                <a:gd name="adj2" fmla="val 9282250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5" name="Chord 4">
              <a:extLst>
                <a:ext uri="{FF2B5EF4-FFF2-40B4-BE49-F238E27FC236}">
                  <a16:creationId xmlns:a16="http://schemas.microsoft.com/office/drawing/2014/main" id="{1FD5BDC9-00CC-7A9C-229E-8DD8319FE3DD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82273"/>
                <a:gd name="adj2" fmla="val 8808404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6" name="Title 3">
            <a:extLst>
              <a:ext uri="{FF2B5EF4-FFF2-40B4-BE49-F238E27FC236}">
                <a16:creationId xmlns:a16="http://schemas.microsoft.com/office/drawing/2014/main" id="{A916CB59-52B3-E821-73F9-02AA0845F8E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6316" y="344489"/>
            <a:ext cx="6045200" cy="704851"/>
          </a:xfrm>
        </p:spPr>
        <p:txBody>
          <a:bodyPr>
            <a:normAutofit/>
          </a:bodyPr>
          <a:lstStyle/>
          <a:p>
            <a:r>
              <a:rPr lang="en-US" sz="3600">
                <a:solidFill>
                  <a:schemeClr val="accent2"/>
                </a:solidFill>
              </a:rPr>
              <a:t>Click to edit Master title style</a:t>
            </a:r>
          </a:p>
        </p:txBody>
      </p:sp>
      <p:sp>
        <p:nvSpPr>
          <p:cNvPr id="7" name="Subtitle 4">
            <a:extLst>
              <a:ext uri="{FF2B5EF4-FFF2-40B4-BE49-F238E27FC236}">
                <a16:creationId xmlns:a16="http://schemas.microsoft.com/office/drawing/2014/main" id="{772D0056-1D1F-72E2-40C2-81CB6C38FC83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446316" y="1017591"/>
            <a:ext cx="6729413" cy="430212"/>
          </a:xfrm>
        </p:spPr>
        <p:txBody>
          <a:bodyPr>
            <a:normAutofit lnSpcReduction="10000"/>
          </a:bodyPr>
          <a:lstStyle>
            <a:lvl1pPr marL="0" indent="0">
              <a:buNone/>
              <a:defRPr/>
            </a:lvl1pPr>
          </a:lstStyle>
          <a:p>
            <a:pPr marL="0" indent="0">
              <a:buNone/>
            </a:pPr>
            <a:r>
              <a:rPr kumimoji="0" lang="en-US" sz="1900" b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lick to edit Master subtitle style</a:t>
            </a: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97CEB46-0495-4952-6282-ECA7559A0F3B}"/>
              </a:ext>
            </a:extLst>
          </p:cNvPr>
          <p:cNvSpPr txBox="1"/>
          <p:nvPr userDrawn="1"/>
        </p:nvSpPr>
        <p:spPr>
          <a:xfrm>
            <a:off x="393559" y="6205840"/>
            <a:ext cx="610564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400" b="1" i="0">
                <a:solidFill>
                  <a:srgbClr val="353535"/>
                </a:solidFill>
                <a:effectLst/>
                <a:latin typeface="+mj-lt"/>
              </a:rPr>
              <a:t>Granicus Solution: </a:t>
            </a:r>
            <a:r>
              <a:rPr lang="en-US" sz="1400" i="0">
                <a:solidFill>
                  <a:srgbClr val="353535"/>
                </a:solidFill>
                <a:effectLst/>
                <a:latin typeface="+mj-lt"/>
              </a:rPr>
              <a:t>solution/s goes here</a:t>
            </a:r>
            <a:endParaRPr lang="en-US" sz="1200" i="0">
              <a:solidFill>
                <a:srgbClr val="353535"/>
              </a:solidFill>
              <a:effectLst/>
              <a:latin typeface="+mj-lt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C130AB-F9EB-3B51-3E6C-29A7DD9DEB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8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8930" r="24638"/>
          <a:stretch/>
        </p:blipFill>
        <p:spPr>
          <a:xfrm>
            <a:off x="7775958" y="0"/>
            <a:ext cx="4416044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DB45046-BFE6-FEDD-06B3-344691DE1A7F}"/>
              </a:ext>
            </a:extLst>
          </p:cNvPr>
          <p:cNvSpPr/>
          <p:nvPr userDrawn="1"/>
        </p:nvSpPr>
        <p:spPr>
          <a:xfrm>
            <a:off x="7750413" y="0"/>
            <a:ext cx="4441591" cy="6858000"/>
          </a:xfrm>
          <a:prstGeom prst="rect">
            <a:avLst/>
          </a:prstGeom>
          <a:solidFill>
            <a:schemeClr val="bg1">
              <a:alpha val="87897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DEAD822-AF84-BEDE-B85A-29B4A7E40A25}"/>
              </a:ext>
            </a:extLst>
          </p:cNvPr>
          <p:cNvGrpSpPr/>
          <p:nvPr userDrawn="1"/>
        </p:nvGrpSpPr>
        <p:grpSpPr>
          <a:xfrm>
            <a:off x="6087189" y="1839189"/>
            <a:ext cx="3377531" cy="3377531"/>
            <a:chOff x="5740954" y="1397670"/>
            <a:chExt cx="4062661" cy="4062661"/>
          </a:xfrm>
        </p:grpSpPr>
        <p:sp>
          <p:nvSpPr>
            <p:cNvPr id="12" name="Chord 11">
              <a:extLst>
                <a:ext uri="{FF2B5EF4-FFF2-40B4-BE49-F238E27FC236}">
                  <a16:creationId xmlns:a16="http://schemas.microsoft.com/office/drawing/2014/main" id="{2BEF99E2-3C8F-BB0D-9E5C-AB85C7EFE795}"/>
                </a:ext>
              </a:extLst>
            </p:cNvPr>
            <p:cNvSpPr/>
            <p:nvPr/>
          </p:nvSpPr>
          <p:spPr>
            <a:xfrm>
              <a:off x="5740954" y="1397670"/>
              <a:ext cx="4062661" cy="4062661"/>
            </a:xfrm>
            <a:prstGeom prst="chord">
              <a:avLst>
                <a:gd name="adj1" fmla="val 5380442"/>
                <a:gd name="adj2" fmla="val 16200000"/>
              </a:avLst>
            </a:prstGeom>
            <a:solidFill>
              <a:schemeClr val="accent5">
                <a:alpha val="72482"/>
              </a:schemeClr>
            </a:solidFill>
            <a:ln w="38100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607D6C4F-2C46-34EB-7B69-92F8D9060F6E}"/>
                </a:ext>
              </a:extLst>
            </p:cNvPr>
            <p:cNvSpPr/>
            <p:nvPr/>
          </p:nvSpPr>
          <p:spPr>
            <a:xfrm>
              <a:off x="6082000" y="1738716"/>
              <a:ext cx="3380568" cy="338056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4" name="Picture Placeholder 10">
              <a:extLst>
                <a:ext uri="{FF2B5EF4-FFF2-40B4-BE49-F238E27FC236}">
                  <a16:creationId xmlns:a16="http://schemas.microsoft.com/office/drawing/2014/main" id="{2A88D3B8-42CC-77DE-85DA-62028FE257DC}"/>
                </a:ext>
              </a:extLst>
            </p:cNvPr>
            <p:cNvSpPr txBox="1">
              <a:spLocks/>
            </p:cNvSpPr>
            <p:nvPr/>
          </p:nvSpPr>
          <p:spPr>
            <a:xfrm>
              <a:off x="6326378" y="1978547"/>
              <a:ext cx="2891812" cy="2900906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5875"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anchor="ctr">
              <a:norm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400"/>
                <a:t>Click icon to add picture</a:t>
              </a:r>
            </a:p>
          </p:txBody>
        </p:sp>
        <p:pic>
          <p:nvPicPr>
            <p:cNvPr id="15" name="Picture Placeholder 8">
              <a:extLst>
                <a:ext uri="{FF2B5EF4-FFF2-40B4-BE49-F238E27FC236}">
                  <a16:creationId xmlns:a16="http://schemas.microsoft.com/office/drawing/2014/main" id="{9E1DC380-BD14-7EBB-1ACE-466FDFAE829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581" r="29581"/>
            <a:stretch/>
          </p:blipFill>
          <p:spPr>
            <a:xfrm>
              <a:off x="6420212" y="2072475"/>
              <a:ext cx="2704144" cy="2713050"/>
            </a:xfrm>
            <a:prstGeom prst="ellipse">
              <a:avLst/>
            </a:prstGeom>
            <a:ln>
              <a:noFill/>
            </a:ln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70C2D6A-AE5F-E8D4-B804-0F9DA1BF8355}"/>
              </a:ext>
            </a:extLst>
          </p:cNvPr>
          <p:cNvGrpSpPr/>
          <p:nvPr userDrawn="1"/>
        </p:nvGrpSpPr>
        <p:grpSpPr>
          <a:xfrm>
            <a:off x="314372" y="1917193"/>
            <a:ext cx="4663600" cy="553998"/>
            <a:chOff x="596757" y="2666627"/>
            <a:chExt cx="4663600" cy="553994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C6513C6-F9C5-59B0-D54F-9521C456907E}"/>
                </a:ext>
              </a:extLst>
            </p:cNvPr>
            <p:cNvSpPr txBox="1"/>
            <p:nvPr/>
          </p:nvSpPr>
          <p:spPr>
            <a:xfrm>
              <a:off x="596757" y="2666627"/>
              <a:ext cx="1094505" cy="5539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3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000" i="0" u="none" strike="noStrike" kern="120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XX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3FA93B5-E5F6-DBD7-FBAC-2773478BAA07}"/>
                </a:ext>
              </a:extLst>
            </p:cNvPr>
            <p:cNvSpPr txBox="1"/>
            <p:nvPr/>
          </p:nvSpPr>
          <p:spPr>
            <a:xfrm>
              <a:off x="1768810" y="2782384"/>
              <a:ext cx="3491547" cy="3385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Stat 1 here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0D9D3B4-DAEC-BEC6-31EB-39406373F400}"/>
              </a:ext>
            </a:extLst>
          </p:cNvPr>
          <p:cNvGrpSpPr/>
          <p:nvPr userDrawn="1"/>
        </p:nvGrpSpPr>
        <p:grpSpPr>
          <a:xfrm>
            <a:off x="325948" y="2973962"/>
            <a:ext cx="4577125" cy="553998"/>
            <a:chOff x="608332" y="3646037"/>
            <a:chExt cx="4577125" cy="553994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EEAFFCA2-ECDE-A6D4-1540-6B7D2E66B72E}"/>
                </a:ext>
              </a:extLst>
            </p:cNvPr>
            <p:cNvSpPr txBox="1"/>
            <p:nvPr/>
          </p:nvSpPr>
          <p:spPr>
            <a:xfrm>
              <a:off x="608332" y="3646037"/>
              <a:ext cx="1082931" cy="5539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3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000" i="0" u="none" strike="noStrike" kern="120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XX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F2BAE9E-6475-F9AF-7B8D-FCED2577F53D}"/>
                </a:ext>
              </a:extLst>
            </p:cNvPr>
            <p:cNvSpPr txBox="1"/>
            <p:nvPr/>
          </p:nvSpPr>
          <p:spPr>
            <a:xfrm>
              <a:off x="1768811" y="3735416"/>
              <a:ext cx="3416646" cy="3593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332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Stat 2 here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803D432-5C03-0BA6-0185-519A26946395}"/>
              </a:ext>
            </a:extLst>
          </p:cNvPr>
          <p:cNvGrpSpPr/>
          <p:nvPr userDrawn="1"/>
        </p:nvGrpSpPr>
        <p:grpSpPr>
          <a:xfrm>
            <a:off x="302797" y="4065775"/>
            <a:ext cx="4600275" cy="553998"/>
            <a:chOff x="585182" y="4587587"/>
            <a:chExt cx="4600274" cy="553994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E41789E0-0C0C-A3CC-ABE9-84C36440F153}"/>
                </a:ext>
              </a:extLst>
            </p:cNvPr>
            <p:cNvSpPr txBox="1"/>
            <p:nvPr/>
          </p:nvSpPr>
          <p:spPr>
            <a:xfrm>
              <a:off x="585182" y="4587587"/>
              <a:ext cx="1106080" cy="5539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3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000" i="0" u="none" strike="noStrike" kern="120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XX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5B88253-68B8-60B2-135E-2F299E88C55C}"/>
                </a:ext>
              </a:extLst>
            </p:cNvPr>
            <p:cNvSpPr txBox="1"/>
            <p:nvPr/>
          </p:nvSpPr>
          <p:spPr>
            <a:xfrm>
              <a:off x="1768810" y="4704528"/>
              <a:ext cx="3416646" cy="3593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332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Stat 3 here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3B73505-A917-6D2D-3B11-C3C892989B35}"/>
              </a:ext>
            </a:extLst>
          </p:cNvPr>
          <p:cNvGrpSpPr/>
          <p:nvPr userDrawn="1"/>
        </p:nvGrpSpPr>
        <p:grpSpPr>
          <a:xfrm>
            <a:off x="198628" y="5157587"/>
            <a:ext cx="4704447" cy="553998"/>
            <a:chOff x="481010" y="5401457"/>
            <a:chExt cx="4704446" cy="553994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9ACCE68C-1366-9B01-DAAD-F027166EF207}"/>
                </a:ext>
              </a:extLst>
            </p:cNvPr>
            <p:cNvSpPr txBox="1"/>
            <p:nvPr/>
          </p:nvSpPr>
          <p:spPr>
            <a:xfrm>
              <a:off x="481010" y="5401457"/>
              <a:ext cx="1210252" cy="5539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3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000" i="0" u="none" strike="noStrike" kern="120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XX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82BF152-7EA3-670F-0435-F46F5AA85904}"/>
                </a:ext>
              </a:extLst>
            </p:cNvPr>
            <p:cNvSpPr txBox="1"/>
            <p:nvPr/>
          </p:nvSpPr>
          <p:spPr>
            <a:xfrm>
              <a:off x="1768810" y="5505186"/>
              <a:ext cx="3416646" cy="3593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332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Stat 4 here</a:t>
              </a:r>
            </a:p>
          </p:txBody>
        </p:sp>
      </p:grp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FC6F10A-BC6B-BAAF-E15E-9E8AA62C729A}"/>
              </a:ext>
            </a:extLst>
          </p:cNvPr>
          <p:cNvCxnSpPr/>
          <p:nvPr userDrawn="1"/>
        </p:nvCxnSpPr>
        <p:spPr>
          <a:xfrm>
            <a:off x="516269" y="2720439"/>
            <a:ext cx="438680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1C7491D-442F-9F55-3E6E-A392F8E127D4}"/>
              </a:ext>
            </a:extLst>
          </p:cNvPr>
          <p:cNvCxnSpPr/>
          <p:nvPr userDrawn="1"/>
        </p:nvCxnSpPr>
        <p:spPr>
          <a:xfrm>
            <a:off x="516269" y="3812245"/>
            <a:ext cx="438680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AD0362A-54FC-4C99-C3AF-6ADB3F53E4AA}"/>
              </a:ext>
            </a:extLst>
          </p:cNvPr>
          <p:cNvCxnSpPr/>
          <p:nvPr userDrawn="1"/>
        </p:nvCxnSpPr>
        <p:spPr>
          <a:xfrm>
            <a:off x="516269" y="4904052"/>
            <a:ext cx="438680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BAEAA98C-50FB-4792-BBB6-81E5E1F07DB1}"/>
              </a:ext>
            </a:extLst>
          </p:cNvPr>
          <p:cNvSpPr txBox="1"/>
          <p:nvPr userDrawn="1"/>
        </p:nvSpPr>
        <p:spPr>
          <a:xfrm>
            <a:off x="9418710" y="741486"/>
            <a:ext cx="2460263" cy="11231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900" i="1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entury Gothic"/>
              </a:rPr>
              <a:t>“Success Story quote goes here.” </a:t>
            </a:r>
          </a:p>
          <a:p>
            <a:pPr>
              <a:lnSpc>
                <a:spcPct val="120000"/>
              </a:lnSpc>
              <a:spcBef>
                <a:spcPts val="1200"/>
              </a:spcBef>
            </a:pPr>
            <a:r>
              <a:rPr lang="en-US" sz="1400">
                <a:solidFill>
                  <a:schemeClr val="tx1">
                    <a:lumMod val="85000"/>
                    <a:lumOff val="15000"/>
                  </a:schemeClr>
                </a:solidFill>
                <a:effectLst/>
              </a:rPr>
              <a:t>Attribute Name, titl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C149080-894D-8B37-22C8-9F6867BA4129}"/>
              </a:ext>
            </a:extLst>
          </p:cNvPr>
          <p:cNvSpPr/>
          <p:nvPr userDrawn="1"/>
        </p:nvSpPr>
        <p:spPr>
          <a:xfrm>
            <a:off x="7104727" y="3191151"/>
            <a:ext cx="1316919" cy="6635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18CAA42-3D4B-791A-ED3A-D01729DDCE8A}"/>
              </a:ext>
            </a:extLst>
          </p:cNvPr>
          <p:cNvSpPr txBox="1"/>
          <p:nvPr userDrawn="1"/>
        </p:nvSpPr>
        <p:spPr>
          <a:xfrm>
            <a:off x="7163429" y="3191151"/>
            <a:ext cx="12582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/>
              <a:t>Update image, and Logo on top</a:t>
            </a:r>
          </a:p>
        </p:txBody>
      </p:sp>
    </p:spTree>
    <p:extLst>
      <p:ext uri="{BB962C8B-B14F-4D97-AF65-F5344CB8AC3E}">
        <p14:creationId xmlns:p14="http://schemas.microsoft.com/office/powerpoint/2010/main" val="164115661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slid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-212035" y="-1765904"/>
            <a:ext cx="12404035" cy="5124965"/>
            <a:chOff x="0" y="8787280"/>
            <a:chExt cx="46816963" cy="19680105"/>
          </a:xfrm>
        </p:grpSpPr>
        <p:sp>
          <p:nvSpPr>
            <p:cNvPr id="7" name="Freeform 9"/>
            <p:cNvSpPr>
              <a:spLocks/>
            </p:cNvSpPr>
            <p:nvPr/>
          </p:nvSpPr>
          <p:spPr bwMode="auto">
            <a:xfrm>
              <a:off x="0" y="8787280"/>
              <a:ext cx="46816963" cy="19680105"/>
            </a:xfrm>
            <a:custGeom>
              <a:avLst/>
              <a:gdLst>
                <a:gd name="T0" fmla="*/ 0 w 3200"/>
                <a:gd name="T1" fmla="*/ 866 h 1341"/>
                <a:gd name="T2" fmla="*/ 0 w 3200"/>
                <a:gd name="T3" fmla="*/ 901 h 1341"/>
                <a:gd name="T4" fmla="*/ 3200 w 3200"/>
                <a:gd name="T5" fmla="*/ 1043 h 1341"/>
                <a:gd name="T6" fmla="*/ 3200 w 3200"/>
                <a:gd name="T7" fmla="*/ 785 h 1341"/>
                <a:gd name="T8" fmla="*/ 0 w 3200"/>
                <a:gd name="T9" fmla="*/ 866 h 1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00" h="1341">
                  <a:moveTo>
                    <a:pt x="0" y="866"/>
                  </a:moveTo>
                  <a:cubicBezTo>
                    <a:pt x="0" y="901"/>
                    <a:pt x="0" y="901"/>
                    <a:pt x="0" y="901"/>
                  </a:cubicBezTo>
                  <a:cubicBezTo>
                    <a:pt x="1318" y="262"/>
                    <a:pt x="2332" y="1341"/>
                    <a:pt x="3200" y="1043"/>
                  </a:cubicBezTo>
                  <a:cubicBezTo>
                    <a:pt x="3200" y="785"/>
                    <a:pt x="3200" y="785"/>
                    <a:pt x="3200" y="785"/>
                  </a:cubicBezTo>
                  <a:cubicBezTo>
                    <a:pt x="2332" y="1084"/>
                    <a:pt x="1106" y="0"/>
                    <a:pt x="0" y="866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9"/>
            </a:p>
          </p:txBody>
        </p:sp>
        <p:sp>
          <p:nvSpPr>
            <p:cNvPr id="8" name="Freeform 13"/>
            <p:cNvSpPr>
              <a:spLocks/>
            </p:cNvSpPr>
            <p:nvPr/>
          </p:nvSpPr>
          <p:spPr bwMode="auto">
            <a:xfrm>
              <a:off x="18066281" y="15584557"/>
              <a:ext cx="28034062" cy="6921158"/>
            </a:xfrm>
            <a:custGeom>
              <a:avLst/>
              <a:gdLst>
                <a:gd name="T0" fmla="*/ 0 w 1250"/>
                <a:gd name="T1" fmla="*/ 24 h 305"/>
                <a:gd name="T2" fmla="*/ 1250 w 1250"/>
                <a:gd name="T3" fmla="*/ 186 h 305"/>
                <a:gd name="T4" fmla="*/ 0 w 1250"/>
                <a:gd name="T5" fmla="*/ 24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50" h="305">
                  <a:moveTo>
                    <a:pt x="0" y="24"/>
                  </a:moveTo>
                  <a:cubicBezTo>
                    <a:pt x="389" y="21"/>
                    <a:pt x="900" y="305"/>
                    <a:pt x="1250" y="186"/>
                  </a:cubicBezTo>
                  <a:cubicBezTo>
                    <a:pt x="856" y="265"/>
                    <a:pt x="425" y="0"/>
                    <a:pt x="0" y="24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9"/>
            </a:p>
          </p:txBody>
        </p:sp>
      </p:grpSp>
      <p:sp>
        <p:nvSpPr>
          <p:cNvPr id="20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87680" y="254001"/>
            <a:ext cx="11216640" cy="48182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200" b="1" spc="133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87680" y="798917"/>
            <a:ext cx="11216640" cy="765724"/>
          </a:xfrm>
        </p:spPr>
        <p:txBody>
          <a:bodyPr anchor="t">
            <a:noAutofit/>
          </a:bodyPr>
          <a:lstStyle>
            <a:lvl1pPr marL="0" marR="0" indent="0" algn="l" defTabSz="91438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133" spc="133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Put Your Great Subtitle Here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344677" y="6462976"/>
            <a:ext cx="635291" cy="244883"/>
          </a:xfrm>
          <a:prstGeom prst="rect">
            <a:avLst/>
          </a:prstGeom>
        </p:spPr>
        <p:txBody>
          <a:bodyPr vert="horz" lIns="60960" tIns="30480" rIns="60960" bIns="3048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7A186AE-F4AD-4FA7-9F32-F8C5D3D896FE}" type="slidenum">
              <a:rPr lang="en-US" sz="1400" b="1" smtClean="0">
                <a:latin typeface="+mj-lt"/>
              </a:rPr>
              <a:pPr algn="r"/>
              <a:t>‹#›</a:t>
            </a:fld>
            <a:endParaRPr lang="en-US" sz="1400" b="1">
              <a:latin typeface="+mj-lt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544077" y="6461077"/>
            <a:ext cx="97975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00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icus.com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092" y="6432672"/>
            <a:ext cx="287683" cy="28768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464F894-1B7E-4288-90DD-A23470A19BF2}"/>
              </a:ext>
            </a:extLst>
          </p:cNvPr>
          <p:cNvSpPr txBox="1"/>
          <p:nvPr userDrawn="1"/>
        </p:nvSpPr>
        <p:spPr>
          <a:xfrm>
            <a:off x="9145293" y="6529054"/>
            <a:ext cx="232822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800" i="0">
                <a:solidFill>
                  <a:schemeClr val="bg2">
                    <a:lumMod val="50000"/>
                  </a:schemeClr>
                </a:solidFill>
              </a:rPr>
              <a:t>Confidential &amp; Proprietary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7C945D9-ED24-C040-860C-5A907ECE0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7680" y="1825625"/>
            <a:ext cx="10866120" cy="4351339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>
              <a:defRPr sz="2133"/>
            </a:lvl1pPr>
            <a:lvl2pPr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87419672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87680" y="253999"/>
            <a:ext cx="11216640" cy="48182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200" b="1" spc="133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87680" y="798917"/>
            <a:ext cx="11216640" cy="377753"/>
          </a:xfrm>
        </p:spPr>
        <p:txBody>
          <a:bodyPr anchor="t">
            <a:no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133" spc="133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Put Your Great Subtitle Here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344677" y="6462977"/>
            <a:ext cx="635291" cy="244883"/>
          </a:xfrm>
          <a:prstGeom prst="rect">
            <a:avLst/>
          </a:prstGeom>
        </p:spPr>
        <p:txBody>
          <a:bodyPr vert="horz" lIns="60960" tIns="30480" rIns="60960" bIns="3048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7A186AE-F4AD-4FA7-9F32-F8C5D3D896FE}" type="slidenum">
              <a:rPr lang="en-US" sz="1400" b="1" smtClean="0">
                <a:latin typeface="+mj-lt"/>
              </a:rPr>
              <a:pPr algn="r"/>
              <a:t>‹#›</a:t>
            </a:fld>
            <a:endParaRPr lang="en-US" sz="1400" b="1">
              <a:latin typeface="+mj-lt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544077" y="6461077"/>
            <a:ext cx="97975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00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icus.com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093" y="6432673"/>
            <a:ext cx="287683" cy="287683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487680" y="1551709"/>
            <a:ext cx="11216640" cy="4772891"/>
          </a:xfrm>
        </p:spPr>
        <p:txBody>
          <a:bodyPr/>
          <a:lstStyle>
            <a:lvl1pPr marL="0" indent="0">
              <a:spcAft>
                <a:spcPts val="800"/>
              </a:spcAft>
              <a:buNone/>
              <a:defRPr sz="2400"/>
            </a:lvl1pPr>
            <a:lvl2pPr marL="380981" indent="-228589">
              <a:spcAft>
                <a:spcPts val="800"/>
              </a:spcAft>
              <a:defRPr sz="1867"/>
            </a:lvl2pPr>
            <a:lvl3pPr marL="685766" indent="-228589">
              <a:spcAft>
                <a:spcPts val="800"/>
              </a:spcAft>
              <a:defRPr sz="1600"/>
            </a:lvl3pPr>
            <a:lvl4pPr marL="1066747" indent="-228589">
              <a:spcAft>
                <a:spcPts val="800"/>
              </a:spcAft>
              <a:defRPr sz="1467"/>
            </a:lvl4pPr>
            <a:lvl5pPr marL="1447728" indent="-228589">
              <a:spcAft>
                <a:spcPts val="800"/>
              </a:spcAft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699204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-212035" y="-1765904"/>
            <a:ext cx="12404035" cy="5124965"/>
            <a:chOff x="0" y="8787280"/>
            <a:chExt cx="46816963" cy="19680105"/>
          </a:xfrm>
        </p:grpSpPr>
        <p:sp>
          <p:nvSpPr>
            <p:cNvPr id="7" name="Freeform 9"/>
            <p:cNvSpPr>
              <a:spLocks/>
            </p:cNvSpPr>
            <p:nvPr/>
          </p:nvSpPr>
          <p:spPr bwMode="auto">
            <a:xfrm>
              <a:off x="0" y="8787280"/>
              <a:ext cx="46816963" cy="19680105"/>
            </a:xfrm>
            <a:custGeom>
              <a:avLst/>
              <a:gdLst>
                <a:gd name="T0" fmla="*/ 0 w 3200"/>
                <a:gd name="T1" fmla="*/ 866 h 1341"/>
                <a:gd name="T2" fmla="*/ 0 w 3200"/>
                <a:gd name="T3" fmla="*/ 901 h 1341"/>
                <a:gd name="T4" fmla="*/ 3200 w 3200"/>
                <a:gd name="T5" fmla="*/ 1043 h 1341"/>
                <a:gd name="T6" fmla="*/ 3200 w 3200"/>
                <a:gd name="T7" fmla="*/ 785 h 1341"/>
                <a:gd name="T8" fmla="*/ 0 w 3200"/>
                <a:gd name="T9" fmla="*/ 866 h 1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00" h="1341">
                  <a:moveTo>
                    <a:pt x="0" y="866"/>
                  </a:moveTo>
                  <a:cubicBezTo>
                    <a:pt x="0" y="901"/>
                    <a:pt x="0" y="901"/>
                    <a:pt x="0" y="901"/>
                  </a:cubicBezTo>
                  <a:cubicBezTo>
                    <a:pt x="1318" y="262"/>
                    <a:pt x="2332" y="1341"/>
                    <a:pt x="3200" y="1043"/>
                  </a:cubicBezTo>
                  <a:cubicBezTo>
                    <a:pt x="3200" y="785"/>
                    <a:pt x="3200" y="785"/>
                    <a:pt x="3200" y="785"/>
                  </a:cubicBezTo>
                  <a:cubicBezTo>
                    <a:pt x="2332" y="1084"/>
                    <a:pt x="1106" y="0"/>
                    <a:pt x="0" y="866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9"/>
            </a:p>
          </p:txBody>
        </p:sp>
        <p:sp>
          <p:nvSpPr>
            <p:cNvPr id="8" name="Freeform 13"/>
            <p:cNvSpPr>
              <a:spLocks/>
            </p:cNvSpPr>
            <p:nvPr/>
          </p:nvSpPr>
          <p:spPr bwMode="auto">
            <a:xfrm>
              <a:off x="18066281" y="15584557"/>
              <a:ext cx="28034062" cy="6921158"/>
            </a:xfrm>
            <a:custGeom>
              <a:avLst/>
              <a:gdLst>
                <a:gd name="T0" fmla="*/ 0 w 1250"/>
                <a:gd name="T1" fmla="*/ 24 h 305"/>
                <a:gd name="T2" fmla="*/ 1250 w 1250"/>
                <a:gd name="T3" fmla="*/ 186 h 305"/>
                <a:gd name="T4" fmla="*/ 0 w 1250"/>
                <a:gd name="T5" fmla="*/ 24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50" h="305">
                  <a:moveTo>
                    <a:pt x="0" y="24"/>
                  </a:moveTo>
                  <a:cubicBezTo>
                    <a:pt x="389" y="21"/>
                    <a:pt x="900" y="305"/>
                    <a:pt x="1250" y="186"/>
                  </a:cubicBezTo>
                  <a:cubicBezTo>
                    <a:pt x="856" y="265"/>
                    <a:pt x="425" y="0"/>
                    <a:pt x="0" y="24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9"/>
            </a:p>
          </p:txBody>
        </p:sp>
      </p:grpSp>
      <p:sp>
        <p:nvSpPr>
          <p:cNvPr id="20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14010" y="254001"/>
            <a:ext cx="11110921" cy="48182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200" b="1" spc="133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3944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6313D4-977E-A5F2-6EC7-B1462BF548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367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No background, no footer – layout - Click to add slide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4DF489C-64CD-4A63-833D-6B9A60F58F1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5367" y="989733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D7BB8B2-4A22-8A66-8036-6D8CE72F8D66}"/>
              </a:ext>
            </a:extLst>
          </p:cNvPr>
          <p:cNvCxnSpPr>
            <a:cxnSpLocks/>
          </p:cNvCxnSpPr>
          <p:nvPr userDrawn="1"/>
        </p:nvCxnSpPr>
        <p:spPr>
          <a:xfrm>
            <a:off x="5258844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8599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45BC3A7C-BCFD-B750-7D0B-772549B1C7A6}"/>
              </a:ext>
            </a:extLst>
          </p:cNvPr>
          <p:cNvGrpSpPr/>
          <p:nvPr userDrawn="1"/>
        </p:nvGrpSpPr>
        <p:grpSpPr>
          <a:xfrm rot="10800000">
            <a:off x="155948" y="4802440"/>
            <a:ext cx="6709295" cy="6709295"/>
            <a:chOff x="105150" y="-3122465"/>
            <a:chExt cx="5720108" cy="5720108"/>
          </a:xfrm>
        </p:grpSpPr>
        <p:sp>
          <p:nvSpPr>
            <p:cNvPr id="12" name="Chord 11">
              <a:extLst>
                <a:ext uri="{FF2B5EF4-FFF2-40B4-BE49-F238E27FC236}">
                  <a16:creationId xmlns:a16="http://schemas.microsoft.com/office/drawing/2014/main" id="{B6B36A70-6BBD-CDF2-9148-1821145FB7A1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099984"/>
                <a:gd name="adj2" fmla="val 9758148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6" name="Chord 15">
              <a:extLst>
                <a:ext uri="{FF2B5EF4-FFF2-40B4-BE49-F238E27FC236}">
                  <a16:creationId xmlns:a16="http://schemas.microsoft.com/office/drawing/2014/main" id="{F4F61740-57BE-7A2A-1EBA-F6B143259B55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379694"/>
                <a:gd name="adj2" fmla="val 9313731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7" name="Chord 16">
              <a:extLst>
                <a:ext uri="{FF2B5EF4-FFF2-40B4-BE49-F238E27FC236}">
                  <a16:creationId xmlns:a16="http://schemas.microsoft.com/office/drawing/2014/main" id="{0B4408C5-6A2E-BDCE-74DE-31BB25DE0B20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673024"/>
                <a:gd name="adj2" fmla="val 8811419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900BB82-D5C4-DC18-EC16-D2A669E8A57A}"/>
              </a:ext>
            </a:extLst>
          </p:cNvPr>
          <p:cNvGrpSpPr/>
          <p:nvPr userDrawn="1"/>
        </p:nvGrpSpPr>
        <p:grpSpPr>
          <a:xfrm>
            <a:off x="6113029" y="-2990654"/>
            <a:ext cx="6921331" cy="6921331"/>
            <a:chOff x="105150" y="-3122465"/>
            <a:chExt cx="5720108" cy="5720108"/>
          </a:xfrm>
        </p:grpSpPr>
        <p:sp>
          <p:nvSpPr>
            <p:cNvPr id="19" name="Chord 18">
              <a:extLst>
                <a:ext uri="{FF2B5EF4-FFF2-40B4-BE49-F238E27FC236}">
                  <a16:creationId xmlns:a16="http://schemas.microsoft.com/office/drawing/2014/main" id="{6122E3AB-2C8D-5A6E-75D8-A06F1AE002C8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20867905"/>
                <a:gd name="adj2" fmla="val 11478846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0" name="Chord 19">
              <a:extLst>
                <a:ext uri="{FF2B5EF4-FFF2-40B4-BE49-F238E27FC236}">
                  <a16:creationId xmlns:a16="http://schemas.microsoft.com/office/drawing/2014/main" id="{FB49112F-E4E1-D8E7-9D3F-CC0FE7CE5E0E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0769818"/>
                <a:gd name="adj2" fmla="val 11622062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1" name="Chord 20">
              <a:extLst>
                <a:ext uri="{FF2B5EF4-FFF2-40B4-BE49-F238E27FC236}">
                  <a16:creationId xmlns:a16="http://schemas.microsoft.com/office/drawing/2014/main" id="{C31B000C-5EAC-99AD-AFAF-C8D08AACA09C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656920"/>
                <a:gd name="adj2" fmla="val 11801938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pic>
        <p:nvPicPr>
          <p:cNvPr id="10" name="Picture 9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535980FD-1B8D-F6F1-3B64-BF3D992FB2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400" y="1191703"/>
            <a:ext cx="2574333" cy="533048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578A23FB-FFD9-0F5E-9D4E-D31707400000}"/>
              </a:ext>
            </a:extLst>
          </p:cNvPr>
          <p:cNvSpPr/>
          <p:nvPr userDrawn="1"/>
        </p:nvSpPr>
        <p:spPr>
          <a:xfrm>
            <a:off x="624263" y="3751217"/>
            <a:ext cx="1512396" cy="73152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0472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9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6355B56A-CC40-176A-ACDD-7BFF5CE504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4056" y="4027685"/>
            <a:ext cx="6261215" cy="429635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200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4BF26FE3-040B-2A0D-5CE1-29756A2F53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4427" y="2013036"/>
            <a:ext cx="6321588" cy="1606653"/>
          </a:xfrm>
        </p:spPr>
        <p:txBody>
          <a:bodyPr lIns="0" rIns="0" anchor="b">
            <a:noAutofit/>
          </a:bodyPr>
          <a:lstStyle>
            <a:lvl1pPr algn="l">
              <a:defRPr sz="3600" b="1" spc="3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9124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  <p15:guide id="3" pos="384">
          <p15:clr>
            <a:srgbClr val="FBAE40"/>
          </p15:clr>
        </p15:guide>
        <p15:guide id="4" pos="9728">
          <p15:clr>
            <a:srgbClr val="FBAE40"/>
          </p15:clr>
        </p15:guide>
      </p15:sldGuideLst>
    </p:ext>
  </p:extLs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8E2F7EE-7709-35BA-E127-C50BC1009EB5}"/>
              </a:ext>
            </a:extLst>
          </p:cNvPr>
          <p:cNvGrpSpPr/>
          <p:nvPr userDrawn="1"/>
        </p:nvGrpSpPr>
        <p:grpSpPr>
          <a:xfrm>
            <a:off x="7392511" y="-3678194"/>
            <a:ext cx="5720108" cy="5720108"/>
            <a:chOff x="105150" y="-3122465"/>
            <a:chExt cx="5720108" cy="5720108"/>
          </a:xfrm>
        </p:grpSpPr>
        <p:sp>
          <p:nvSpPr>
            <p:cNvPr id="13" name="Chord 12">
              <a:extLst>
                <a:ext uri="{FF2B5EF4-FFF2-40B4-BE49-F238E27FC236}">
                  <a16:creationId xmlns:a16="http://schemas.microsoft.com/office/drawing/2014/main" id="{CFC3B866-3DF5-6AE9-F330-2CEFF3126B8E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972540"/>
                <a:gd name="adj2" fmla="val 988089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7" name="Chord 16">
              <a:extLst>
                <a:ext uri="{FF2B5EF4-FFF2-40B4-BE49-F238E27FC236}">
                  <a16:creationId xmlns:a16="http://schemas.microsoft.com/office/drawing/2014/main" id="{77547FDB-7552-1776-A57C-6D2898A85D30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171149"/>
                <a:gd name="adj2" fmla="val 959543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8" name="Chord 17">
              <a:extLst>
                <a:ext uri="{FF2B5EF4-FFF2-40B4-BE49-F238E27FC236}">
                  <a16:creationId xmlns:a16="http://schemas.microsoft.com/office/drawing/2014/main" id="{8E1EBB78-23CA-495F-E7D4-052BBA798DA1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517033"/>
                <a:gd name="adj2" fmla="val 9345714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0A24EED9-4ADC-C399-7382-301E46A0CC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913" y="179007"/>
            <a:ext cx="11796171" cy="502766"/>
          </a:xfrm>
        </p:spPr>
        <p:txBody>
          <a:bodyPr wrap="square" lIns="0" rIns="0" anchor="b">
            <a:spAutoFit/>
          </a:bodyPr>
          <a:lstStyle>
            <a:lvl1pPr algn="l">
              <a:defRPr sz="2667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F5CDCDF-0943-B2E8-8886-A788DF7179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97913" y="694302"/>
            <a:ext cx="11796171" cy="338554"/>
          </a:xfrm>
        </p:spPr>
        <p:txBody>
          <a:bodyPr wrap="square" lIns="0" rIns="0">
            <a:spAutoFit/>
          </a:bodyPr>
          <a:lstStyle>
            <a:lvl1pPr marL="0" indent="0" algn="l">
              <a:buNone/>
              <a:defRPr sz="1600" i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2FA1AA87-ED82-9197-6BF3-32B0F8579B01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6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24" name="Picture 2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78CA3334-FFDD-A2BC-1614-72E1172369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90"/>
            <a:ext cx="1280160" cy="26533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911B165-E62D-38D0-B0E3-A5ABF8702EB3}"/>
              </a:ext>
            </a:extLst>
          </p:cNvPr>
          <p:cNvSpPr txBox="1"/>
          <p:nvPr userDrawn="1"/>
        </p:nvSpPr>
        <p:spPr>
          <a:xfrm>
            <a:off x="9326875" y="6529058"/>
            <a:ext cx="232822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800" i="0">
                <a:solidFill>
                  <a:schemeClr val="bg2">
                    <a:lumMod val="50000"/>
                  </a:schemeClr>
                </a:solidFill>
              </a:rPr>
              <a:t>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749388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8E2F7EE-7709-35BA-E127-C50BC1009EB5}"/>
              </a:ext>
            </a:extLst>
          </p:cNvPr>
          <p:cNvGrpSpPr/>
          <p:nvPr userDrawn="1"/>
        </p:nvGrpSpPr>
        <p:grpSpPr>
          <a:xfrm>
            <a:off x="7392511" y="-3678194"/>
            <a:ext cx="5720108" cy="5720108"/>
            <a:chOff x="105150" y="-3122465"/>
            <a:chExt cx="5720108" cy="5720108"/>
          </a:xfrm>
        </p:grpSpPr>
        <p:sp>
          <p:nvSpPr>
            <p:cNvPr id="13" name="Chord 12">
              <a:extLst>
                <a:ext uri="{FF2B5EF4-FFF2-40B4-BE49-F238E27FC236}">
                  <a16:creationId xmlns:a16="http://schemas.microsoft.com/office/drawing/2014/main" id="{CFC3B866-3DF5-6AE9-F330-2CEFF3126B8E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972540"/>
                <a:gd name="adj2" fmla="val 988089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7" name="Chord 16">
              <a:extLst>
                <a:ext uri="{FF2B5EF4-FFF2-40B4-BE49-F238E27FC236}">
                  <a16:creationId xmlns:a16="http://schemas.microsoft.com/office/drawing/2014/main" id="{77547FDB-7552-1776-A57C-6D2898A85D30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171149"/>
                <a:gd name="adj2" fmla="val 959543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8" name="Chord 17">
              <a:extLst>
                <a:ext uri="{FF2B5EF4-FFF2-40B4-BE49-F238E27FC236}">
                  <a16:creationId xmlns:a16="http://schemas.microsoft.com/office/drawing/2014/main" id="{8E1EBB78-23CA-495F-E7D4-052BBA798DA1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517033"/>
                <a:gd name="adj2" fmla="val 9345714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D368C0C-6AE5-6848-0E96-7325AE63A9B4}"/>
              </a:ext>
            </a:extLst>
          </p:cNvPr>
          <p:cNvGrpSpPr/>
          <p:nvPr userDrawn="1"/>
        </p:nvGrpSpPr>
        <p:grpSpPr>
          <a:xfrm rot="10800000">
            <a:off x="-989286" y="5065531"/>
            <a:ext cx="5720108" cy="5720108"/>
            <a:chOff x="105150" y="-3122465"/>
            <a:chExt cx="5720108" cy="5720108"/>
          </a:xfrm>
        </p:grpSpPr>
        <p:sp>
          <p:nvSpPr>
            <p:cNvPr id="20" name="Chord 19">
              <a:extLst>
                <a:ext uri="{FF2B5EF4-FFF2-40B4-BE49-F238E27FC236}">
                  <a16:creationId xmlns:a16="http://schemas.microsoft.com/office/drawing/2014/main" id="{55C18862-C275-34CA-0FF9-D648867E5C13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215574"/>
                <a:gd name="adj2" fmla="val 9610099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1" name="Chord 20">
              <a:extLst>
                <a:ext uri="{FF2B5EF4-FFF2-40B4-BE49-F238E27FC236}">
                  <a16:creationId xmlns:a16="http://schemas.microsoft.com/office/drawing/2014/main" id="{C643B53E-DE3F-C827-26B2-3F973467D24F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503614"/>
                <a:gd name="adj2" fmla="val 9282250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2" name="Chord 21">
              <a:extLst>
                <a:ext uri="{FF2B5EF4-FFF2-40B4-BE49-F238E27FC236}">
                  <a16:creationId xmlns:a16="http://schemas.microsoft.com/office/drawing/2014/main" id="{8AD67EB1-5666-9C24-2C0E-448AB847B637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82273"/>
                <a:gd name="adj2" fmla="val 8808404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0A24EED9-4ADC-C399-7382-301E46A0CC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913" y="179007"/>
            <a:ext cx="11796171" cy="502766"/>
          </a:xfrm>
        </p:spPr>
        <p:txBody>
          <a:bodyPr wrap="square" lIns="0" rIns="0" anchor="b">
            <a:spAutoFit/>
          </a:bodyPr>
          <a:lstStyle>
            <a:lvl1pPr algn="l">
              <a:defRPr sz="2667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F5CDCDF-0943-B2E8-8886-A788DF7179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97913" y="694302"/>
            <a:ext cx="11796171" cy="338554"/>
          </a:xfrm>
        </p:spPr>
        <p:txBody>
          <a:bodyPr wrap="square" lIns="0" rIns="0">
            <a:spAutoFit/>
          </a:bodyPr>
          <a:lstStyle>
            <a:lvl1pPr marL="0" indent="0" algn="l">
              <a:buNone/>
              <a:defRPr sz="1600" i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2FA1AA87-ED82-9197-6BF3-32B0F8579B01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6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24" name="Picture 2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78CA3334-FFDD-A2BC-1614-72E1172369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90"/>
            <a:ext cx="1280160" cy="26533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911B165-E62D-38D0-B0E3-A5ABF8702EB3}"/>
              </a:ext>
            </a:extLst>
          </p:cNvPr>
          <p:cNvSpPr txBox="1"/>
          <p:nvPr userDrawn="1"/>
        </p:nvSpPr>
        <p:spPr>
          <a:xfrm>
            <a:off x="9326875" y="6529058"/>
            <a:ext cx="232822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800" i="0">
                <a:solidFill>
                  <a:schemeClr val="bg2">
                    <a:lumMod val="50000"/>
                  </a:schemeClr>
                </a:solidFill>
              </a:rPr>
              <a:t>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3141531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-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50AB8BE2-3203-B29A-6549-F4662A7362DE}"/>
              </a:ext>
            </a:extLst>
          </p:cNvPr>
          <p:cNvGrpSpPr/>
          <p:nvPr userDrawn="1"/>
        </p:nvGrpSpPr>
        <p:grpSpPr>
          <a:xfrm>
            <a:off x="7392511" y="-3678194"/>
            <a:ext cx="5720108" cy="5720108"/>
            <a:chOff x="105150" y="-3122465"/>
            <a:chExt cx="5720108" cy="5720108"/>
          </a:xfrm>
        </p:grpSpPr>
        <p:sp>
          <p:nvSpPr>
            <p:cNvPr id="30" name="Chord 29">
              <a:extLst>
                <a:ext uri="{FF2B5EF4-FFF2-40B4-BE49-F238E27FC236}">
                  <a16:creationId xmlns:a16="http://schemas.microsoft.com/office/drawing/2014/main" id="{1A9E727C-B5A7-DDC4-5F65-307DD1BC2ACA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972540"/>
                <a:gd name="adj2" fmla="val 988089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1" name="Chord 30">
              <a:extLst>
                <a:ext uri="{FF2B5EF4-FFF2-40B4-BE49-F238E27FC236}">
                  <a16:creationId xmlns:a16="http://schemas.microsoft.com/office/drawing/2014/main" id="{D831F826-05DC-A9B0-1C1D-BEE636C2AB32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171149"/>
                <a:gd name="adj2" fmla="val 959543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2" name="Chord 31">
              <a:extLst>
                <a:ext uri="{FF2B5EF4-FFF2-40B4-BE49-F238E27FC236}">
                  <a16:creationId xmlns:a16="http://schemas.microsoft.com/office/drawing/2014/main" id="{4EF2C1D6-D255-62B4-D41F-19567F524BA0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517033"/>
                <a:gd name="adj2" fmla="val 9345714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E1A43A9-A101-1699-F9ED-D93E9BCFA3AA}"/>
              </a:ext>
            </a:extLst>
          </p:cNvPr>
          <p:cNvGrpSpPr/>
          <p:nvPr userDrawn="1"/>
        </p:nvGrpSpPr>
        <p:grpSpPr>
          <a:xfrm rot="10800000">
            <a:off x="-989286" y="5065531"/>
            <a:ext cx="5720108" cy="5720108"/>
            <a:chOff x="105150" y="-3122465"/>
            <a:chExt cx="5720108" cy="5720108"/>
          </a:xfrm>
        </p:grpSpPr>
        <p:sp>
          <p:nvSpPr>
            <p:cNvPr id="26" name="Chord 25">
              <a:extLst>
                <a:ext uri="{FF2B5EF4-FFF2-40B4-BE49-F238E27FC236}">
                  <a16:creationId xmlns:a16="http://schemas.microsoft.com/office/drawing/2014/main" id="{789F3800-E40C-8693-B5C5-16EDBA3B954E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215574"/>
                <a:gd name="adj2" fmla="val 9610099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7" name="Chord 26">
              <a:extLst>
                <a:ext uri="{FF2B5EF4-FFF2-40B4-BE49-F238E27FC236}">
                  <a16:creationId xmlns:a16="http://schemas.microsoft.com/office/drawing/2014/main" id="{13C2E123-3187-2B89-C07D-A1B2E77F3893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503614"/>
                <a:gd name="adj2" fmla="val 9282250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8" name="Chord 27">
              <a:extLst>
                <a:ext uri="{FF2B5EF4-FFF2-40B4-BE49-F238E27FC236}">
                  <a16:creationId xmlns:a16="http://schemas.microsoft.com/office/drawing/2014/main" id="{016E9895-16D1-6E83-FA72-F2BF6E083EC4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82273"/>
                <a:gd name="adj2" fmla="val 8808404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B5E0138-3A7C-947A-1805-6A974EDC98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5072" y="289498"/>
            <a:ext cx="11801856" cy="502766"/>
          </a:xfrm>
        </p:spPr>
        <p:txBody>
          <a:bodyPr wrap="square" lIns="0" rIns="0" anchor="b">
            <a:spAutoFit/>
          </a:bodyPr>
          <a:lstStyle>
            <a:lvl1pPr algn="l">
              <a:defRPr sz="2667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no footer – to keep one line if possib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F3D3896-21F7-E606-32AE-78C80324F0E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95072" y="989734"/>
            <a:ext cx="11801856" cy="400110"/>
          </a:xfrm>
        </p:spPr>
        <p:txBody>
          <a:bodyPr wrap="square" lIns="0" rIns="0">
            <a:spAutoFit/>
          </a:bodyPr>
          <a:lstStyle>
            <a:lvl1pPr marL="0" indent="0" algn="l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6CCFDFF-0D99-CD81-3E40-E7EA1D9C0266}"/>
              </a:ext>
            </a:extLst>
          </p:cNvPr>
          <p:cNvCxnSpPr>
            <a:cxnSpLocks/>
          </p:cNvCxnSpPr>
          <p:nvPr userDrawn="1"/>
        </p:nvCxnSpPr>
        <p:spPr>
          <a:xfrm>
            <a:off x="5243081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3ADDB7AE-A8FB-D790-7D26-84CE472C6C00}"/>
              </a:ext>
            </a:extLst>
          </p:cNvPr>
          <p:cNvSpPr txBox="1"/>
          <p:nvPr userDrawn="1"/>
        </p:nvSpPr>
        <p:spPr>
          <a:xfrm>
            <a:off x="9326875" y="6529058"/>
            <a:ext cx="232822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800" i="0">
                <a:solidFill>
                  <a:schemeClr val="bg2">
                    <a:lumMod val="50000"/>
                  </a:schemeClr>
                </a:solidFill>
              </a:rPr>
              <a:t>Confidential &amp; Proprietary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EFD2138-B961-3F3E-9CAE-C92D0658DC5E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64874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5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3260CAD1-232F-9E1B-B1CE-BAF97C0B0ABA}"/>
              </a:ext>
            </a:extLst>
          </p:cNvPr>
          <p:cNvSpPr/>
          <p:nvPr userDrawn="1"/>
        </p:nvSpPr>
        <p:spPr bwMode="auto">
          <a:xfrm>
            <a:off x="-3048" y="-13176"/>
            <a:ext cx="12198096" cy="687117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innerShdw blurRad="63500" dist="25400" dir="5400000">
              <a:prstClr val="black">
                <a:alpha val="12000"/>
              </a:prstClr>
            </a:inn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0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8241010-344D-B166-9004-8D123CAD703D}"/>
              </a:ext>
            </a:extLst>
          </p:cNvPr>
          <p:cNvCxnSpPr>
            <a:cxnSpLocks/>
          </p:cNvCxnSpPr>
          <p:nvPr userDrawn="1"/>
        </p:nvCxnSpPr>
        <p:spPr>
          <a:xfrm>
            <a:off x="5243083" y="877301"/>
            <a:ext cx="1705847" cy="0"/>
          </a:xfrm>
          <a:prstGeom prst="line">
            <a:avLst/>
          </a:prstGeom>
          <a:noFill/>
          <a:ln w="28575" cap="flat" cmpd="sng" algn="ctr">
            <a:solidFill>
              <a:srgbClr val="D51236"/>
            </a:solidFill>
            <a:prstDash val="solid"/>
            <a:miter lim="800000"/>
          </a:ln>
          <a:effectLst/>
        </p:spPr>
      </p:cxnSp>
      <p:sp>
        <p:nvSpPr>
          <p:cNvPr id="25" name="Title 24">
            <a:extLst>
              <a:ext uri="{FF2B5EF4-FFF2-40B4-BE49-F238E27FC236}">
                <a16:creationId xmlns:a16="http://schemas.microsoft.com/office/drawing/2014/main" id="{DABEA9E9-F1AF-936C-5227-D44CF8A20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312138"/>
            <a:ext cx="10820400" cy="532671"/>
          </a:xfrm>
          <a:prstGeom prst="rect">
            <a:avLst/>
          </a:prstGeom>
        </p:spPr>
        <p:txBody>
          <a:bodyPr/>
          <a:lstStyle>
            <a:lvl1pPr>
              <a:defRPr kumimoji="0" lang="en-US" sz="2800" b="1" i="0" u="none" strike="noStrike" kern="1200" cap="none" spc="0" normalizeH="0" baseline="0" dirty="0">
                <a:ln>
                  <a:noFill/>
                </a:ln>
                <a:solidFill>
                  <a:srgbClr val="363636"/>
                </a:solidFill>
                <a:effectLst/>
                <a:uLnTx/>
                <a:uFillTx/>
                <a:latin typeface="Century Gothic"/>
                <a:ea typeface="+mj-ea"/>
                <a:cs typeface="+mj-cs"/>
              </a:defRPr>
            </a:lvl1pPr>
          </a:lstStyle>
          <a:p>
            <a:pPr marL="0" marR="0" lvl="0" indent="0" algn="ctr" defTabSz="9143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81707DF2-3A84-FE13-162F-D772AD98A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5800" y="989738"/>
            <a:ext cx="10820400" cy="43565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kumimoji="0" lang="en-US" sz="2000" b="0" i="1" u="none" strike="noStrike" kern="1200" cap="none" spc="0" normalizeH="0" baseline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defRPr>
            </a:lvl1pPr>
          </a:lstStyle>
          <a:p>
            <a:pPr marL="342866" marR="0" lvl="0" indent="-342866" algn="ctr" defTabSz="91430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 Master text styles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4A578B2-71AF-1E71-D41A-CD003A582413}"/>
              </a:ext>
            </a:extLst>
          </p:cNvPr>
          <p:cNvGrpSpPr/>
          <p:nvPr userDrawn="1"/>
        </p:nvGrpSpPr>
        <p:grpSpPr>
          <a:xfrm>
            <a:off x="7392511" y="-3678194"/>
            <a:ext cx="5720108" cy="5720108"/>
            <a:chOff x="105150" y="-3122465"/>
            <a:chExt cx="5720108" cy="5720108"/>
          </a:xfrm>
        </p:grpSpPr>
        <p:sp>
          <p:nvSpPr>
            <p:cNvPr id="39" name="Chord 38">
              <a:extLst>
                <a:ext uri="{FF2B5EF4-FFF2-40B4-BE49-F238E27FC236}">
                  <a16:creationId xmlns:a16="http://schemas.microsoft.com/office/drawing/2014/main" id="{D914177F-E961-48A5-CC32-AC4E737DB165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972540"/>
                <a:gd name="adj2" fmla="val 9880895"/>
              </a:avLst>
            </a:prstGeom>
            <a:solidFill>
              <a:srgbClr val="3879AF">
                <a:alpha val="3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</a:endParaRPr>
            </a:p>
          </p:txBody>
        </p:sp>
        <p:sp>
          <p:nvSpPr>
            <p:cNvPr id="40" name="Chord 39">
              <a:extLst>
                <a:ext uri="{FF2B5EF4-FFF2-40B4-BE49-F238E27FC236}">
                  <a16:creationId xmlns:a16="http://schemas.microsoft.com/office/drawing/2014/main" id="{D62751BE-E15D-4A18-1D46-5DBAE7F9D8D0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171149"/>
                <a:gd name="adj2" fmla="val 9595435"/>
              </a:avLst>
            </a:prstGeom>
            <a:solidFill>
              <a:srgbClr val="3879AF">
                <a:alpha val="3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</a:endParaRPr>
            </a:p>
          </p:txBody>
        </p:sp>
        <p:sp>
          <p:nvSpPr>
            <p:cNvPr id="41" name="Chord 40">
              <a:extLst>
                <a:ext uri="{FF2B5EF4-FFF2-40B4-BE49-F238E27FC236}">
                  <a16:creationId xmlns:a16="http://schemas.microsoft.com/office/drawing/2014/main" id="{4ABDD544-3D77-52DE-8967-6C67BB865DE8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517033"/>
                <a:gd name="adj2" fmla="val 9345714"/>
              </a:avLst>
            </a:prstGeom>
            <a:solidFill>
              <a:srgbClr val="3879AF">
                <a:alpha val="3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02DBDF4-A515-3770-8129-3B4EEEBE5568}"/>
              </a:ext>
            </a:extLst>
          </p:cNvPr>
          <p:cNvGrpSpPr/>
          <p:nvPr userDrawn="1"/>
        </p:nvGrpSpPr>
        <p:grpSpPr>
          <a:xfrm rot="10800000">
            <a:off x="-920614" y="4980419"/>
            <a:ext cx="5720108" cy="5720108"/>
            <a:chOff x="105150" y="-3122465"/>
            <a:chExt cx="5720108" cy="5720108"/>
          </a:xfrm>
        </p:grpSpPr>
        <p:sp>
          <p:nvSpPr>
            <p:cNvPr id="43" name="Chord 42">
              <a:extLst>
                <a:ext uri="{FF2B5EF4-FFF2-40B4-BE49-F238E27FC236}">
                  <a16:creationId xmlns:a16="http://schemas.microsoft.com/office/drawing/2014/main" id="{897A065D-5A6D-8253-0688-BEF2BE2D8EAF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215574"/>
                <a:gd name="adj2" fmla="val 9610099"/>
              </a:avLst>
            </a:prstGeom>
            <a:solidFill>
              <a:srgbClr val="D51236">
                <a:alpha val="3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</a:endParaRPr>
            </a:p>
          </p:txBody>
        </p:sp>
        <p:sp>
          <p:nvSpPr>
            <p:cNvPr id="44" name="Chord 43">
              <a:extLst>
                <a:ext uri="{FF2B5EF4-FFF2-40B4-BE49-F238E27FC236}">
                  <a16:creationId xmlns:a16="http://schemas.microsoft.com/office/drawing/2014/main" id="{1DB998DE-3C27-881E-E30E-D2D5F0230A8E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503614"/>
                <a:gd name="adj2" fmla="val 9282250"/>
              </a:avLst>
            </a:prstGeom>
            <a:solidFill>
              <a:srgbClr val="D51236">
                <a:alpha val="3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</a:endParaRPr>
            </a:p>
          </p:txBody>
        </p:sp>
        <p:sp>
          <p:nvSpPr>
            <p:cNvPr id="45" name="Chord 44">
              <a:extLst>
                <a:ext uri="{FF2B5EF4-FFF2-40B4-BE49-F238E27FC236}">
                  <a16:creationId xmlns:a16="http://schemas.microsoft.com/office/drawing/2014/main" id="{26CA489C-AC3A-8CCC-04B2-ECF8DC1C9A02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38093"/>
                <a:gd name="adj2" fmla="val 8808404"/>
              </a:avLst>
            </a:prstGeom>
            <a:solidFill>
              <a:srgbClr val="D51236">
                <a:alpha val="3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0388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6313D4-977E-A5F2-6EC7-B1462BF548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366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No background layout – Click to add slid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4DF489C-64CD-4A63-833D-6B9A60F58F1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5366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D7BB8B2-4A22-8A66-8036-6D8CE72F8D66}"/>
              </a:ext>
            </a:extLst>
          </p:cNvPr>
          <p:cNvCxnSpPr>
            <a:cxnSpLocks/>
          </p:cNvCxnSpPr>
          <p:nvPr userDrawn="1"/>
        </p:nvCxnSpPr>
        <p:spPr>
          <a:xfrm>
            <a:off x="5258844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E626FCA-CB63-6310-722E-F15225B2C263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C7B1B2CF-CB17-B455-3AC4-C989FAE632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  <p:sp>
        <p:nvSpPr>
          <p:cNvPr id="5" name="Text Placeholder 16">
            <a:extLst>
              <a:ext uri="{FF2B5EF4-FFF2-40B4-BE49-F238E27FC236}">
                <a16:creationId xmlns:a16="http://schemas.microsoft.com/office/drawing/2014/main" id="{DF17CCA6-D67A-82A0-167A-2CF37EB234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9" y="1696290"/>
            <a:ext cx="10972800" cy="4403721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en-US" sz="2400"/>
              <a:t>Click to edit text</a:t>
            </a:r>
          </a:p>
          <a:p>
            <a:pPr marL="406390" lvl="1" indent="-242882"/>
            <a:r>
              <a:rPr lang="en-US" sz="2000"/>
              <a:t>Second level</a:t>
            </a:r>
          </a:p>
          <a:p>
            <a:pPr marL="744520" lvl="2" indent="-220657"/>
            <a:r>
              <a:rPr lang="en-US" sz="1800"/>
              <a:t>Third level</a:t>
            </a:r>
          </a:p>
          <a:p>
            <a:pPr marL="1206470" lvl="3" indent="-234945"/>
            <a:r>
              <a:rPr lang="en-US" sz="1600"/>
              <a:t>Fourth level</a:t>
            </a:r>
          </a:p>
          <a:p>
            <a:pPr marL="1716045" lvl="4" indent="-227008"/>
            <a:r>
              <a:rPr lang="en-US" sz="160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22859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D2304E76-E256-52C5-FB40-A78CA129D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84385" y="368473"/>
            <a:ext cx="7098016" cy="704955"/>
          </a:xfrm>
        </p:spPr>
        <p:txBody>
          <a:bodyPr lIns="0" rIns="0" anchor="b">
            <a:normAutofit/>
          </a:bodyPr>
          <a:lstStyle>
            <a:lvl1pPr marL="0" algn="l" defTabSz="91429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3FC7BAB-2CFD-16FA-E5CE-6A8AE83209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91641" y="1241373"/>
            <a:ext cx="7090760" cy="429635"/>
          </a:xfrm>
        </p:spPr>
        <p:txBody>
          <a:bodyPr lIns="0" rIns="0">
            <a:normAutofit/>
          </a:bodyPr>
          <a:lstStyle>
            <a:lvl1pPr marL="0" indent="0" algn="l" defTabSz="91429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B0EFC8E-2D10-7A07-38EC-603E7E665B9E}"/>
              </a:ext>
            </a:extLst>
          </p:cNvPr>
          <p:cNvCxnSpPr>
            <a:cxnSpLocks/>
            <a:stCxn id="22" idx="4"/>
            <a:endCxn id="25" idx="0"/>
          </p:cNvCxnSpPr>
          <p:nvPr userDrawn="1"/>
        </p:nvCxnSpPr>
        <p:spPr>
          <a:xfrm>
            <a:off x="4469179" y="2328875"/>
            <a:ext cx="0" cy="2816305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21" name="Google Shape;323;p67">
            <a:extLst>
              <a:ext uri="{FF2B5EF4-FFF2-40B4-BE49-F238E27FC236}">
                <a16:creationId xmlns:a16="http://schemas.microsoft.com/office/drawing/2014/main" id="{F0EB2619-26EF-50E4-F6EE-782CE1906BC5}"/>
              </a:ext>
            </a:extLst>
          </p:cNvPr>
          <p:cNvSpPr txBox="1">
            <a:spLocks/>
          </p:cNvSpPr>
          <p:nvPr userDrawn="1"/>
        </p:nvSpPr>
        <p:spPr>
          <a:xfrm>
            <a:off x="4826954" y="2071349"/>
            <a:ext cx="5029555" cy="362092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34275" rIns="0" bIns="34275" rtlCol="0" anchor="t" anchorCtr="0">
            <a:noAutofit/>
          </a:bodyPr>
          <a:lstStyle>
            <a:lvl1pPr marL="342892" lvl="0" indent="-266693" algn="l" defTabSz="68579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lvl="1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8675" lvl="2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lvl="3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14457" lvl="4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7348" lvl="5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00240" lvl="6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43132" lvl="7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86023" lvl="8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1575"/>
              </a:spcAft>
              <a:buSzPts val="19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marR="0" lvl="0" indent="0" algn="l" defTabSz="68571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>
                <a:srgbClr val="787B7E"/>
              </a:buClr>
              <a:buSzPts val="2000"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WELCOME </a:t>
            </a:r>
            <a:br>
              <a:rPr kumimoji="0" lang="en-US" sz="1500" b="1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r>
              <a:rPr kumimoji="0" lang="en-US" sz="1351" b="0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Introductions</a:t>
            </a:r>
            <a:br>
              <a:rPr kumimoji="0" lang="en-US" sz="18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endParaRPr kumimoji="0" lang="en-US" sz="1800" b="0" i="0" u="none" strike="noStrike" kern="1200" cap="none" spc="4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Century Gothic" panose="020F0302020204030204"/>
              <a:ea typeface="+mn-lt"/>
              <a:cs typeface="+mn-lt"/>
            </a:endParaRPr>
          </a:p>
          <a:p>
            <a:pPr marL="0" marR="0" lvl="0" indent="0" algn="l" defTabSz="68571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EE2845"/>
              </a:buClr>
              <a:buSzPct val="85000"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YOUR PRIORITIES &amp; DESIRED OUTCOMES</a:t>
            </a:r>
            <a: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 </a:t>
            </a:r>
            <a:b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r>
              <a:rPr kumimoji="0" lang="en-US" sz="1351" b="0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Creating a shared understanding of success</a:t>
            </a:r>
            <a:b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b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endParaRPr kumimoji="0" lang="en-US" sz="1500" b="1" i="0" u="none" strike="noStrike" kern="1200" cap="none" spc="4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Century Gothic" panose="020F0302020204030204"/>
              <a:ea typeface="+mn-lt"/>
              <a:cs typeface="+mn-lt"/>
            </a:endParaRPr>
          </a:p>
          <a:p>
            <a:pPr marL="0" marR="0" lvl="0" indent="0" algn="l" defTabSz="68571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EE2845"/>
              </a:buClr>
              <a:buSzPct val="85000"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OVERVIEW OF WHAT IS POSSIBLE</a:t>
            </a:r>
            <a:b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r>
              <a:rPr kumimoji="0" lang="en-US" sz="1351" b="0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Designing a solution together</a:t>
            </a:r>
            <a:b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b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endParaRPr kumimoji="0" lang="en-US" sz="1500" b="0" i="0" u="none" strike="noStrike" kern="1200" cap="none" spc="4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Century Gothic" panose="020F0302020204030204"/>
              <a:ea typeface="+mn-lt"/>
              <a:cs typeface="+mn-lt"/>
            </a:endParaRPr>
          </a:p>
          <a:p>
            <a:pPr marL="0" marR="0" lvl="0" indent="0" algn="l" defTabSz="68571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EE2845"/>
              </a:buClr>
              <a:buSzPct val="85000"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QUESTIONS &amp; NEXT STEPS</a:t>
            </a:r>
            <a:br>
              <a:rPr kumimoji="0" lang="en-US" sz="1500" b="1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r>
              <a:rPr kumimoji="0" lang="en-US" sz="1351" b="0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Where do we go from here?</a:t>
            </a:r>
            <a:r>
              <a:rPr kumimoji="0" lang="en-US" sz="1351" b="1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 </a:t>
            </a:r>
            <a:endParaRPr kumimoji="0" lang="en-US" sz="1500" b="0" i="0" u="none" strike="noStrike" kern="1200" cap="none" spc="4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Century Gothic" panose="020F0302020204030204"/>
              <a:ea typeface="+mn-lt"/>
              <a:cs typeface="+mn-lt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C8B41C3B-D508-EC15-3E45-DA0A071D9917}"/>
              </a:ext>
            </a:extLst>
          </p:cNvPr>
          <p:cNvSpPr/>
          <p:nvPr userDrawn="1"/>
        </p:nvSpPr>
        <p:spPr>
          <a:xfrm>
            <a:off x="4394642" y="2179794"/>
            <a:ext cx="149087" cy="149087"/>
          </a:xfrm>
          <a:prstGeom prst="ellipse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2285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9F232104-0AF3-1F1C-88C7-64A8AC2B110A}"/>
              </a:ext>
            </a:extLst>
          </p:cNvPr>
          <p:cNvSpPr/>
          <p:nvPr userDrawn="1"/>
        </p:nvSpPr>
        <p:spPr>
          <a:xfrm>
            <a:off x="4394642" y="3167241"/>
            <a:ext cx="149087" cy="149087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rgbClr val="EE284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2285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AFE59FBD-2303-220D-E8FE-B141540A7668}"/>
              </a:ext>
            </a:extLst>
          </p:cNvPr>
          <p:cNvSpPr/>
          <p:nvPr userDrawn="1"/>
        </p:nvSpPr>
        <p:spPr>
          <a:xfrm>
            <a:off x="4394642" y="4154686"/>
            <a:ext cx="149087" cy="149087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rgbClr val="EE284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2285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AB774A9-80AA-81D8-034F-9F7CD11774E6}"/>
              </a:ext>
            </a:extLst>
          </p:cNvPr>
          <p:cNvSpPr/>
          <p:nvPr userDrawn="1"/>
        </p:nvSpPr>
        <p:spPr>
          <a:xfrm>
            <a:off x="4394642" y="5145186"/>
            <a:ext cx="149087" cy="149087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rgbClr val="EE284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2285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65ADAE8-D812-6A52-114E-CAC1FC7392F3}"/>
              </a:ext>
            </a:extLst>
          </p:cNvPr>
          <p:cNvCxnSpPr>
            <a:cxnSpLocks/>
          </p:cNvCxnSpPr>
          <p:nvPr userDrawn="1"/>
        </p:nvCxnSpPr>
        <p:spPr>
          <a:xfrm>
            <a:off x="4457706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F086DB0-1896-E7E6-5BFD-4A6538D2C69B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6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4" name="Picture 1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CF33704D-193C-4AA3-3C5D-B105B4026EC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90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287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  <p15:guide id="3" pos="3744">
          <p15:clr>
            <a:srgbClr val="FBAE40"/>
          </p15:clr>
        </p15:guide>
      </p15:sldGuideLst>
    </p:ext>
  </p:extLs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BF8D885F-F35C-1AE6-16EB-B2CED9445029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5183191" y="0"/>
            <a:ext cx="7008812" cy="6858000"/>
          </a:xfrm>
          <a:solidFill>
            <a:schemeClr val="bg2"/>
          </a:solidFill>
        </p:spPr>
        <p:txBody>
          <a:bodyPr rIns="457200" anchor="ctr">
            <a:normAutofit/>
          </a:bodyPr>
          <a:lstStyle>
            <a:lvl1pPr marL="0" indent="0" algn="r">
              <a:buNone/>
              <a:defRPr sz="2400"/>
            </a:lvl1pPr>
            <a:lvl2pPr marL="457143" indent="0">
              <a:buNone/>
              <a:defRPr sz="2800"/>
            </a:lvl2pPr>
            <a:lvl3pPr marL="914286" indent="0">
              <a:buNone/>
              <a:defRPr sz="2400"/>
            </a:lvl3pPr>
            <a:lvl4pPr marL="1371430" indent="0">
              <a:buNone/>
              <a:defRPr sz="2000"/>
            </a:lvl4pPr>
            <a:lvl5pPr marL="1828573" indent="0">
              <a:buNone/>
              <a:defRPr sz="2000"/>
            </a:lvl5pPr>
            <a:lvl6pPr marL="2285718" indent="0">
              <a:buNone/>
              <a:defRPr sz="2000"/>
            </a:lvl6pPr>
            <a:lvl7pPr marL="2742858" indent="0">
              <a:buNone/>
              <a:defRPr sz="2000"/>
            </a:lvl7pPr>
            <a:lvl8pPr marL="3200000" indent="0">
              <a:buNone/>
              <a:defRPr sz="2000"/>
            </a:lvl8pPr>
            <a:lvl9pPr marL="3657143" indent="0">
              <a:buNone/>
              <a:defRPr sz="2000"/>
            </a:lvl9pPr>
          </a:lstStyle>
          <a:p>
            <a:pPr marL="0" marR="0" lvl="0" indent="0" algn="r" defTabSz="91428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or drag and drop</a:t>
            </a:r>
          </a:p>
          <a:p>
            <a:pPr marL="0" marR="0" lvl="0" indent="0" algn="r" defTabSz="91428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 to add a photo here – </a:t>
            </a:r>
          </a:p>
          <a:p>
            <a:pPr marL="0" marR="0" lvl="0" indent="0" algn="r" defTabSz="91428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you might need to </a:t>
            </a:r>
          </a:p>
          <a:p>
            <a:pPr marL="0" marR="0" lvl="0" indent="0" algn="r" defTabSz="91428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right click and send the </a:t>
            </a:r>
          </a:p>
          <a:p>
            <a:pPr marL="0" marR="0" lvl="0" indent="0" algn="r" defTabSz="91428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 to the back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2F9673C-30C0-E03E-BA3B-21B213457EE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7509" y="4027685"/>
            <a:ext cx="6261215" cy="429635"/>
          </a:xfrm>
        </p:spPr>
        <p:txBody>
          <a:bodyPr lIns="0">
            <a:normAutofit/>
          </a:bodyPr>
          <a:lstStyle>
            <a:lvl1pPr marL="0" indent="0" algn="l">
              <a:buNone/>
              <a:defRPr sz="2000" spc="51" baseline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76E1A8A-FA41-570F-BF44-20B0D806425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6342" y="2013036"/>
            <a:ext cx="6321588" cy="1606653"/>
          </a:xfrm>
        </p:spPr>
        <p:txBody>
          <a:bodyPr lIns="0" anchor="b">
            <a:noAutofit/>
          </a:bodyPr>
          <a:lstStyle>
            <a:lvl1pPr algn="l">
              <a:defRPr sz="3600" b="1" spc="3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Add your section title here</a:t>
            </a:r>
          </a:p>
        </p:txBody>
      </p:sp>
    </p:spTree>
    <p:extLst>
      <p:ext uri="{BB962C8B-B14F-4D97-AF65-F5344CB8AC3E}">
        <p14:creationId xmlns:p14="http://schemas.microsoft.com/office/powerpoint/2010/main" val="847281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</p15:sldGuideLst>
    </p:ext>
  </p:extLs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8761E293-D9B4-0F86-0B0B-6AA5ED2AE0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153" y="6537008"/>
            <a:ext cx="753859" cy="156096"/>
          </a:xfrm>
          <a:prstGeom prst="rect">
            <a:avLst/>
          </a:prstGeom>
        </p:spPr>
      </p:pic>
      <p:sp>
        <p:nvSpPr>
          <p:cNvPr id="2" name="Picture Placeholder 7">
            <a:extLst>
              <a:ext uri="{FF2B5EF4-FFF2-40B4-BE49-F238E27FC236}">
                <a16:creationId xmlns:a16="http://schemas.microsoft.com/office/drawing/2014/main" id="{A03CFE9E-F9D8-6915-4AB7-362C3E40825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686824" y="-222200"/>
            <a:ext cx="7302399" cy="7302399"/>
          </a:xfrm>
          <a:prstGeom prst="chord">
            <a:avLst>
              <a:gd name="adj1" fmla="val 14891008"/>
              <a:gd name="adj2" fmla="val 14728125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93DE41-638F-98F6-5536-83B2244FB78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42" y="2173549"/>
            <a:ext cx="7104207" cy="3978275"/>
          </a:xfrm>
        </p:spPr>
        <p:txBody>
          <a:bodyPr lIns="0" rIns="0"/>
          <a:lstStyle>
            <a:lvl1pPr marL="0" indent="0">
              <a:buNone/>
              <a:defRPr/>
            </a:lvl1pPr>
            <a:lvl2pPr marL="457143" indent="0">
              <a:buNone/>
              <a:defRPr/>
            </a:lvl2pPr>
            <a:lvl3pPr marL="914286" indent="0">
              <a:buNone/>
              <a:defRPr/>
            </a:lvl3pPr>
            <a:lvl4pPr marL="1371430" indent="0">
              <a:buNone/>
              <a:defRPr/>
            </a:lvl4pPr>
            <a:lvl5pPr marL="182857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88A9E8B-D116-858A-EC47-80BD6AF2BD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42" y="368473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29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6ED60761-73A6-A05D-E6E1-596B967C8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8" y="1241373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29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B13B303-9934-88D1-F879-E130155052E5}"/>
              </a:ext>
            </a:extLst>
          </p:cNvPr>
          <p:cNvCxnSpPr>
            <a:cxnSpLocks/>
          </p:cNvCxnSpPr>
          <p:nvPr userDrawn="1"/>
        </p:nvCxnSpPr>
        <p:spPr>
          <a:xfrm>
            <a:off x="4457706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3655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  <p15:guide id="3" pos="3744">
          <p15:clr>
            <a:srgbClr val="FBAE40"/>
          </p15:clr>
        </p15:guide>
      </p15:sldGuideLst>
    </p:ext>
  </p:extLs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BB1A3ACE-96EE-F4FC-E59F-1689CE09CB89}"/>
              </a:ext>
            </a:extLst>
          </p:cNvPr>
          <p:cNvSpPr/>
          <p:nvPr userDrawn="1"/>
        </p:nvSpPr>
        <p:spPr>
          <a:xfrm>
            <a:off x="-3945326" y="-502038"/>
            <a:ext cx="7890651" cy="7890651"/>
          </a:xfrm>
          <a:prstGeom prst="ellipse">
            <a:avLst/>
          </a:prstGeom>
          <a:solidFill>
            <a:schemeClr val="accent5">
              <a:alpha val="38400"/>
            </a:schemeClr>
          </a:solidFill>
          <a:ln w="4445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20" name="Picture 19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8761E293-D9B4-0F86-0B0B-6AA5ED2AE0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153" y="6537008"/>
            <a:ext cx="753859" cy="156096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93DE41-638F-98F6-5536-83B2244FB78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42" y="2173549"/>
            <a:ext cx="7104207" cy="3978275"/>
          </a:xfrm>
        </p:spPr>
        <p:txBody>
          <a:bodyPr lIns="0" rIns="0"/>
          <a:lstStyle>
            <a:lvl1pPr marL="0" indent="0">
              <a:buNone/>
              <a:defRPr/>
            </a:lvl1pPr>
            <a:lvl2pPr marL="457143" indent="0">
              <a:buNone/>
              <a:defRPr/>
            </a:lvl2pPr>
            <a:lvl3pPr marL="914286" indent="0">
              <a:buNone/>
              <a:defRPr/>
            </a:lvl3pPr>
            <a:lvl4pPr marL="1371430" indent="0">
              <a:buNone/>
              <a:defRPr/>
            </a:lvl4pPr>
            <a:lvl5pPr marL="182857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88A9E8B-D116-858A-EC47-80BD6AF2BD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42" y="368473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29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6ED60761-73A6-A05D-E6E1-596B967C8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8" y="1241373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29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B13B303-9934-88D1-F879-E130155052E5}"/>
              </a:ext>
            </a:extLst>
          </p:cNvPr>
          <p:cNvCxnSpPr>
            <a:cxnSpLocks/>
          </p:cNvCxnSpPr>
          <p:nvPr userDrawn="1"/>
        </p:nvCxnSpPr>
        <p:spPr>
          <a:xfrm>
            <a:off x="4457706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505FFAB-B692-3082-CDAD-0716C1937B5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651200" y="-207912"/>
            <a:ext cx="7302399" cy="7302399"/>
          </a:xfrm>
          <a:prstGeom prst="chord">
            <a:avLst>
              <a:gd name="adj1" fmla="val 14891008"/>
              <a:gd name="adj2" fmla="val 14728125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</p:spTree>
    <p:extLst>
      <p:ext uri="{BB962C8B-B14F-4D97-AF65-F5344CB8AC3E}">
        <p14:creationId xmlns:p14="http://schemas.microsoft.com/office/powerpoint/2010/main" val="2061881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  <p15:guide id="3" pos="3744">
          <p15:clr>
            <a:srgbClr val="FBAE40"/>
          </p15:clr>
        </p15:guide>
      </p15:sldGuideLst>
    </p:ext>
  </p:extLs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BB1A3ACE-96EE-F4FC-E59F-1689CE09CB89}"/>
              </a:ext>
            </a:extLst>
          </p:cNvPr>
          <p:cNvSpPr/>
          <p:nvPr userDrawn="1"/>
        </p:nvSpPr>
        <p:spPr>
          <a:xfrm>
            <a:off x="-3945326" y="-502038"/>
            <a:ext cx="7890651" cy="7890651"/>
          </a:xfrm>
          <a:prstGeom prst="ellipse">
            <a:avLst/>
          </a:prstGeom>
          <a:solidFill>
            <a:schemeClr val="accent2">
              <a:alpha val="38400"/>
            </a:schemeClr>
          </a:solidFill>
          <a:ln w="4445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20" name="Picture 19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8761E293-D9B4-0F86-0B0B-6AA5ED2AE0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153" y="6537008"/>
            <a:ext cx="753859" cy="156096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93DE41-638F-98F6-5536-83B2244FB78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42" y="2173549"/>
            <a:ext cx="7104207" cy="3978275"/>
          </a:xfrm>
        </p:spPr>
        <p:txBody>
          <a:bodyPr lIns="0" rIns="0"/>
          <a:lstStyle>
            <a:lvl1pPr marL="0" indent="0">
              <a:buNone/>
              <a:defRPr/>
            </a:lvl1pPr>
            <a:lvl2pPr marL="457143" indent="0">
              <a:buNone/>
              <a:defRPr/>
            </a:lvl2pPr>
            <a:lvl3pPr marL="914286" indent="0">
              <a:buNone/>
              <a:defRPr/>
            </a:lvl3pPr>
            <a:lvl4pPr marL="1371430" indent="0">
              <a:buNone/>
              <a:defRPr/>
            </a:lvl4pPr>
            <a:lvl5pPr marL="182857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88A9E8B-D116-858A-EC47-80BD6AF2BD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42" y="368473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29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6ED60761-73A6-A05D-E6E1-596B967C8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8" y="1241373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29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B13B303-9934-88D1-F879-E130155052E5}"/>
              </a:ext>
            </a:extLst>
          </p:cNvPr>
          <p:cNvCxnSpPr>
            <a:cxnSpLocks/>
          </p:cNvCxnSpPr>
          <p:nvPr userDrawn="1"/>
        </p:nvCxnSpPr>
        <p:spPr>
          <a:xfrm>
            <a:off x="4457706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505FFAB-B692-3082-CDAD-0716C1937B5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651200" y="-207912"/>
            <a:ext cx="7302399" cy="7302399"/>
          </a:xfrm>
          <a:prstGeom prst="chord">
            <a:avLst>
              <a:gd name="adj1" fmla="val 14891008"/>
              <a:gd name="adj2" fmla="val 14728125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</p:spTree>
    <p:extLst>
      <p:ext uri="{BB962C8B-B14F-4D97-AF65-F5344CB8AC3E}">
        <p14:creationId xmlns:p14="http://schemas.microsoft.com/office/powerpoint/2010/main" val="3330282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  <p15:guide id="3" pos="3744">
          <p15:clr>
            <a:srgbClr val="FBAE40"/>
          </p15:clr>
        </p15:guide>
      </p15:sldGuideLst>
    </p:ext>
  </p:extLs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BB1A3ACE-96EE-F4FC-E59F-1689CE09CB89}"/>
              </a:ext>
            </a:extLst>
          </p:cNvPr>
          <p:cNvSpPr/>
          <p:nvPr userDrawn="1"/>
        </p:nvSpPr>
        <p:spPr>
          <a:xfrm>
            <a:off x="-3945326" y="-502038"/>
            <a:ext cx="7890651" cy="7890651"/>
          </a:xfrm>
          <a:prstGeom prst="ellipse">
            <a:avLst/>
          </a:prstGeom>
          <a:solidFill>
            <a:schemeClr val="bg2">
              <a:alpha val="62470"/>
            </a:schemeClr>
          </a:solidFill>
          <a:ln w="4445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20" name="Picture 19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8761E293-D9B4-0F86-0B0B-6AA5ED2AE0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153" y="6537008"/>
            <a:ext cx="753859" cy="156096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93DE41-638F-98F6-5536-83B2244FB78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42" y="2173549"/>
            <a:ext cx="7104207" cy="3978275"/>
          </a:xfrm>
        </p:spPr>
        <p:txBody>
          <a:bodyPr lIns="0" rIns="0"/>
          <a:lstStyle>
            <a:lvl1pPr marL="0" indent="0">
              <a:buNone/>
              <a:defRPr/>
            </a:lvl1pPr>
            <a:lvl2pPr marL="457143" indent="0">
              <a:buNone/>
              <a:defRPr/>
            </a:lvl2pPr>
            <a:lvl3pPr marL="914286" indent="0">
              <a:buNone/>
              <a:defRPr/>
            </a:lvl3pPr>
            <a:lvl4pPr marL="1371430" indent="0">
              <a:buNone/>
              <a:defRPr/>
            </a:lvl4pPr>
            <a:lvl5pPr marL="182857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88A9E8B-D116-858A-EC47-80BD6AF2BD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42" y="368473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29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6ED60761-73A6-A05D-E6E1-596B967C8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8" y="1241373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29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B13B303-9934-88D1-F879-E130155052E5}"/>
              </a:ext>
            </a:extLst>
          </p:cNvPr>
          <p:cNvCxnSpPr>
            <a:cxnSpLocks/>
          </p:cNvCxnSpPr>
          <p:nvPr userDrawn="1"/>
        </p:nvCxnSpPr>
        <p:spPr>
          <a:xfrm>
            <a:off x="4457706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505FFAB-B692-3082-CDAD-0716C1937B5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651200" y="-207912"/>
            <a:ext cx="7302399" cy="7302399"/>
          </a:xfrm>
          <a:prstGeom prst="chord">
            <a:avLst>
              <a:gd name="adj1" fmla="val 14891008"/>
              <a:gd name="adj2" fmla="val 14728125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</p:spTree>
    <p:extLst>
      <p:ext uri="{BB962C8B-B14F-4D97-AF65-F5344CB8AC3E}">
        <p14:creationId xmlns:p14="http://schemas.microsoft.com/office/powerpoint/2010/main" val="2053126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  <p15:guide id="3" pos="3744">
          <p15:clr>
            <a:srgbClr val="FBAE40"/>
          </p15:clr>
        </p15:guide>
      </p15:sldGuideLst>
    </p:ext>
  </p:extLs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42DFF7C-E8BA-18FB-FCCA-1D940663230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2143116" y="685595"/>
            <a:ext cx="5486400" cy="5486400"/>
          </a:xfrm>
          <a:prstGeom prst="chord">
            <a:avLst>
              <a:gd name="adj1" fmla="val 16223487"/>
              <a:gd name="adj2" fmla="val 5378999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  <p:sp>
        <p:nvSpPr>
          <p:cNvPr id="2" name="Arc 1">
            <a:extLst>
              <a:ext uri="{FF2B5EF4-FFF2-40B4-BE49-F238E27FC236}">
                <a16:creationId xmlns:a16="http://schemas.microsoft.com/office/drawing/2014/main" id="{62DA2AC3-83E6-3302-EA43-1F0A2914B1E8}"/>
              </a:ext>
            </a:extLst>
          </p:cNvPr>
          <p:cNvSpPr/>
          <p:nvPr userDrawn="1"/>
        </p:nvSpPr>
        <p:spPr>
          <a:xfrm>
            <a:off x="-2279595" y="538733"/>
            <a:ext cx="5808699" cy="5808699"/>
          </a:xfrm>
          <a:prstGeom prst="arc">
            <a:avLst>
              <a:gd name="adj1" fmla="val 16195710"/>
              <a:gd name="adj2" fmla="val 19585927"/>
            </a:avLst>
          </a:prstGeom>
          <a:ln w="355600">
            <a:solidFill>
              <a:schemeClr val="accent5">
                <a:alpha val="7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22D43CF-FCBA-4908-9209-65A409A55A69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6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C13DF582-A80A-CF43-F360-B0D52A4F499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42" y="2173549"/>
            <a:ext cx="7104207" cy="3978275"/>
          </a:xfrm>
        </p:spPr>
        <p:txBody>
          <a:bodyPr lIns="0" rIns="0"/>
          <a:lstStyle>
            <a:lvl1pPr marL="0" indent="0">
              <a:buNone/>
              <a:defRPr/>
            </a:lvl1pPr>
            <a:lvl2pPr marL="457143" indent="0">
              <a:buNone/>
              <a:defRPr/>
            </a:lvl2pPr>
            <a:lvl3pPr marL="914286" indent="0">
              <a:buNone/>
              <a:defRPr/>
            </a:lvl3pPr>
            <a:lvl4pPr marL="1371430" indent="0">
              <a:buNone/>
              <a:defRPr/>
            </a:lvl4pPr>
            <a:lvl5pPr marL="182857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525D93A-3502-932A-E1EE-8281677DC6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42" y="368473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29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F9014EBD-CF89-46D7-A57A-3D4B3C3F2EC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8" y="1241373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29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09BEE27-D24F-3768-17B0-EBD09B6F8AF7}"/>
              </a:ext>
            </a:extLst>
          </p:cNvPr>
          <p:cNvCxnSpPr>
            <a:cxnSpLocks/>
          </p:cNvCxnSpPr>
          <p:nvPr userDrawn="1"/>
        </p:nvCxnSpPr>
        <p:spPr>
          <a:xfrm>
            <a:off x="4457706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3098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088">
          <p15:clr>
            <a:srgbClr val="FBAE40"/>
          </p15:clr>
        </p15:guide>
        <p15:guide id="3" pos="512">
          <p15:clr>
            <a:srgbClr val="FBAE40"/>
          </p15:clr>
        </p15:guide>
        <p15:guide id="4" pos="9728">
          <p15:clr>
            <a:srgbClr val="FBAE40"/>
          </p15:clr>
        </p15:guide>
      </p15:sldGuideLst>
    </p:ext>
  </p:extLs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42DFF7C-E8BA-18FB-FCCA-1D940663230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2143116" y="685595"/>
            <a:ext cx="5486400" cy="5486400"/>
          </a:xfrm>
          <a:prstGeom prst="chord">
            <a:avLst>
              <a:gd name="adj1" fmla="val 16223487"/>
              <a:gd name="adj2" fmla="val 5378999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  <p:sp>
        <p:nvSpPr>
          <p:cNvPr id="2" name="Arc 1">
            <a:extLst>
              <a:ext uri="{FF2B5EF4-FFF2-40B4-BE49-F238E27FC236}">
                <a16:creationId xmlns:a16="http://schemas.microsoft.com/office/drawing/2014/main" id="{62DA2AC3-83E6-3302-EA43-1F0A2914B1E8}"/>
              </a:ext>
            </a:extLst>
          </p:cNvPr>
          <p:cNvSpPr/>
          <p:nvPr userDrawn="1"/>
        </p:nvSpPr>
        <p:spPr>
          <a:xfrm>
            <a:off x="-2279595" y="538733"/>
            <a:ext cx="5808699" cy="5808699"/>
          </a:xfrm>
          <a:prstGeom prst="arc">
            <a:avLst>
              <a:gd name="adj1" fmla="val 16195710"/>
              <a:gd name="adj2" fmla="val 19585927"/>
            </a:avLst>
          </a:prstGeom>
          <a:ln w="355600">
            <a:solidFill>
              <a:schemeClr val="accent2">
                <a:alpha val="4694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E836BA6-5575-37A6-6D7E-C160F5F01E80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6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00BD2CB4-9DBA-8408-CC09-67885095A0E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42" y="2173549"/>
            <a:ext cx="7104207" cy="3978275"/>
          </a:xfrm>
        </p:spPr>
        <p:txBody>
          <a:bodyPr lIns="0" rIns="0"/>
          <a:lstStyle>
            <a:lvl1pPr marL="0" indent="0">
              <a:buNone/>
              <a:defRPr/>
            </a:lvl1pPr>
            <a:lvl2pPr marL="457143" indent="0">
              <a:buNone/>
              <a:defRPr/>
            </a:lvl2pPr>
            <a:lvl3pPr marL="914286" indent="0">
              <a:buNone/>
              <a:defRPr/>
            </a:lvl3pPr>
            <a:lvl4pPr marL="1371430" indent="0">
              <a:buNone/>
              <a:defRPr/>
            </a:lvl4pPr>
            <a:lvl5pPr marL="182857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A770A6E-742D-1F18-C5F0-50A893DC47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42" y="368473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29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6B53E34-B99F-22BE-1064-B2B1C3E670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8" y="1241373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29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8B72724-55B0-70E8-D19C-2DFEF7251F0C}"/>
              </a:ext>
            </a:extLst>
          </p:cNvPr>
          <p:cNvCxnSpPr>
            <a:cxnSpLocks/>
          </p:cNvCxnSpPr>
          <p:nvPr userDrawn="1"/>
        </p:nvCxnSpPr>
        <p:spPr>
          <a:xfrm>
            <a:off x="4457706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7469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088">
          <p15:clr>
            <a:srgbClr val="FBAE40"/>
          </p15:clr>
        </p15:guide>
        <p15:guide id="3" pos="512">
          <p15:clr>
            <a:srgbClr val="FBAE40"/>
          </p15:clr>
        </p15:guide>
        <p15:guide id="4" pos="9728">
          <p15:clr>
            <a:srgbClr val="FBAE40"/>
          </p15:clr>
        </p15:guide>
      </p15:sldGuideLst>
    </p:ext>
  </p:extLs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ord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6203560" y="1409660"/>
            <a:ext cx="4062661" cy="4062661"/>
          </a:xfrm>
          <a:prstGeom prst="chord">
            <a:avLst>
              <a:gd name="adj1" fmla="val 5380442"/>
              <a:gd name="adj2" fmla="val 16200000"/>
            </a:avLst>
          </a:prstGeom>
          <a:solidFill>
            <a:schemeClr val="accent5">
              <a:alpha val="14000"/>
            </a:schemeClr>
          </a:solidFill>
          <a:ln w="3810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59" r="170"/>
          <a:stretch/>
        </p:blipFill>
        <p:spPr>
          <a:xfrm>
            <a:off x="8238566" y="0"/>
            <a:ext cx="3953439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8238564" y="0"/>
            <a:ext cx="3953437" cy="6858000"/>
          </a:xfrm>
          <a:prstGeom prst="rect">
            <a:avLst/>
          </a:prstGeom>
          <a:solidFill>
            <a:schemeClr val="accent5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F597556C-921F-8A86-4312-95EAE44E731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4093" y="1907265"/>
            <a:ext cx="5319513" cy="4354993"/>
          </a:xfrm>
        </p:spPr>
        <p:txBody>
          <a:bodyPr lIns="0" rIns="0"/>
          <a:lstStyle>
            <a:lvl1pPr marL="0" indent="0">
              <a:buNone/>
              <a:defRPr/>
            </a:lvl1pPr>
            <a:lvl2pPr marL="457143" indent="0">
              <a:buNone/>
              <a:defRPr/>
            </a:lvl2pPr>
            <a:lvl3pPr marL="914286" indent="0">
              <a:buNone/>
              <a:defRPr/>
            </a:lvl3pPr>
            <a:lvl4pPr marL="1371430" indent="0">
              <a:buNone/>
              <a:defRPr/>
            </a:lvl4pPr>
            <a:lvl5pPr marL="182857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C5E39A7-32B5-A4CA-7EB6-0CF0F105FF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365" y="269044"/>
            <a:ext cx="5318235" cy="523220"/>
          </a:xfrm>
        </p:spPr>
        <p:txBody>
          <a:bodyPr wrap="square" lIns="0" rIns="0" anchor="b">
            <a:sp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BF1C4B2-7895-8661-D5BA-28609D34E2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5365" y="989734"/>
            <a:ext cx="5318235" cy="400110"/>
          </a:xfrm>
        </p:spPr>
        <p:txBody>
          <a:bodyPr wrap="square" lIns="0" rIns="0">
            <a:spAutoFit/>
          </a:bodyPr>
          <a:lstStyle>
            <a:lvl1pPr marL="0" indent="0" algn="l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C6EDF7-A28E-CA58-E0DE-30C4A8CF1043}"/>
              </a:ext>
            </a:extLst>
          </p:cNvPr>
          <p:cNvCxnSpPr>
            <a:cxnSpLocks/>
          </p:cNvCxnSpPr>
          <p:nvPr userDrawn="1"/>
        </p:nvCxnSpPr>
        <p:spPr>
          <a:xfrm>
            <a:off x="625371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9" name="Picture 1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490E5B3-7867-69E6-A4BD-CCC34DDB077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90"/>
            <a:ext cx="1280160" cy="265335"/>
          </a:xfrm>
          <a:prstGeom prst="rect">
            <a:avLst/>
          </a:prstGeom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384E2753-8378-A889-2BF7-63F1D469C15F}"/>
              </a:ext>
            </a:extLst>
          </p:cNvPr>
          <p:cNvSpPr/>
          <p:nvPr userDrawn="1"/>
        </p:nvSpPr>
        <p:spPr>
          <a:xfrm>
            <a:off x="6544607" y="1750704"/>
            <a:ext cx="3380568" cy="338056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6E5DF571-44A5-A36E-77C0-B0517DF656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88987" y="1990534"/>
            <a:ext cx="2891812" cy="2900907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0478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4992">
          <p15:clr>
            <a:srgbClr val="FBAE40"/>
          </p15:clr>
        </p15:guide>
      </p15:sldGuideLst>
    </p:ext>
  </p:extLs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ord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6203560" y="1409660"/>
            <a:ext cx="4062661" cy="4062661"/>
          </a:xfrm>
          <a:prstGeom prst="chord">
            <a:avLst>
              <a:gd name="adj1" fmla="val 5380442"/>
              <a:gd name="adj2" fmla="val 16200000"/>
            </a:avLst>
          </a:prstGeom>
          <a:solidFill>
            <a:schemeClr val="accent2">
              <a:alpha val="14000"/>
            </a:schemeClr>
          </a:solidFill>
          <a:ln w="3810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59" r="170"/>
          <a:stretch/>
        </p:blipFill>
        <p:spPr>
          <a:xfrm>
            <a:off x="8238566" y="0"/>
            <a:ext cx="3953439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8238564" y="0"/>
            <a:ext cx="3953437" cy="6858000"/>
          </a:xfrm>
          <a:prstGeom prst="rect">
            <a:avLst/>
          </a:prstGeom>
          <a:solidFill>
            <a:schemeClr val="accent2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F597556C-921F-8A86-4312-95EAE44E731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4093" y="1907265"/>
            <a:ext cx="5319513" cy="4354993"/>
          </a:xfrm>
        </p:spPr>
        <p:txBody>
          <a:bodyPr lIns="0" rIns="0"/>
          <a:lstStyle>
            <a:lvl1pPr marL="0" indent="0">
              <a:buNone/>
              <a:defRPr/>
            </a:lvl1pPr>
            <a:lvl2pPr marL="457143" indent="0">
              <a:buNone/>
              <a:defRPr/>
            </a:lvl2pPr>
            <a:lvl3pPr marL="914286" indent="0">
              <a:buNone/>
              <a:defRPr/>
            </a:lvl3pPr>
            <a:lvl4pPr marL="1371430" indent="0">
              <a:buNone/>
              <a:defRPr/>
            </a:lvl4pPr>
            <a:lvl5pPr marL="182857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C5E39A7-32B5-A4CA-7EB6-0CF0F105FF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365" y="269044"/>
            <a:ext cx="5318235" cy="523220"/>
          </a:xfrm>
        </p:spPr>
        <p:txBody>
          <a:bodyPr wrap="square" lIns="0" rIns="0" anchor="b">
            <a:sp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BF1C4B2-7895-8661-D5BA-28609D34E2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5365" y="989734"/>
            <a:ext cx="5318235" cy="400110"/>
          </a:xfrm>
        </p:spPr>
        <p:txBody>
          <a:bodyPr wrap="square" lIns="0" rIns="0">
            <a:spAutoFit/>
          </a:bodyPr>
          <a:lstStyle>
            <a:lvl1pPr marL="0" indent="0" algn="l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C6EDF7-A28E-CA58-E0DE-30C4A8CF1043}"/>
              </a:ext>
            </a:extLst>
          </p:cNvPr>
          <p:cNvCxnSpPr>
            <a:cxnSpLocks/>
          </p:cNvCxnSpPr>
          <p:nvPr userDrawn="1"/>
        </p:nvCxnSpPr>
        <p:spPr>
          <a:xfrm>
            <a:off x="625371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9" name="Picture 1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490E5B3-7867-69E6-A4BD-CCC34DDB077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90"/>
            <a:ext cx="1280160" cy="265335"/>
          </a:xfrm>
          <a:prstGeom prst="rect">
            <a:avLst/>
          </a:prstGeom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384E2753-8378-A889-2BF7-63F1D469C15F}"/>
              </a:ext>
            </a:extLst>
          </p:cNvPr>
          <p:cNvSpPr/>
          <p:nvPr userDrawn="1"/>
        </p:nvSpPr>
        <p:spPr>
          <a:xfrm>
            <a:off x="6544607" y="1750704"/>
            <a:ext cx="3380568" cy="338056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6E5DF571-44A5-A36E-77C0-B0517DF656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88987" y="1990534"/>
            <a:ext cx="2891812" cy="2900907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0679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4992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background,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6313D4-977E-A5F2-6EC7-B1462BF548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366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No background, no footer layout – Click to add slide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4DF489C-64CD-4A63-833D-6B9A60F58F1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5366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D7BB8B2-4A22-8A66-8036-6D8CE72F8D66}"/>
              </a:ext>
            </a:extLst>
          </p:cNvPr>
          <p:cNvCxnSpPr>
            <a:cxnSpLocks/>
          </p:cNvCxnSpPr>
          <p:nvPr userDrawn="1"/>
        </p:nvCxnSpPr>
        <p:spPr>
          <a:xfrm>
            <a:off x="5258844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" name="Text Placeholder 16">
            <a:extLst>
              <a:ext uri="{FF2B5EF4-FFF2-40B4-BE49-F238E27FC236}">
                <a16:creationId xmlns:a16="http://schemas.microsoft.com/office/drawing/2014/main" id="{ADD74F97-711F-C032-64D3-FD98470A9F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9" y="1696290"/>
            <a:ext cx="10972800" cy="4403721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en-US" sz="2400"/>
              <a:t>Click to edit text</a:t>
            </a:r>
          </a:p>
          <a:p>
            <a:pPr marL="406390" lvl="1" indent="-242882"/>
            <a:r>
              <a:rPr lang="en-US" sz="2000"/>
              <a:t>Second level</a:t>
            </a:r>
          </a:p>
          <a:p>
            <a:pPr marL="744520" lvl="2" indent="-220657"/>
            <a:r>
              <a:rPr lang="en-US" sz="1800"/>
              <a:t>Third level</a:t>
            </a:r>
          </a:p>
          <a:p>
            <a:pPr marL="1206470" lvl="3" indent="-234945"/>
            <a:r>
              <a:rPr lang="en-US" sz="1600"/>
              <a:t>Fourth level</a:t>
            </a:r>
          </a:p>
          <a:p>
            <a:pPr marL="1716045" lvl="4" indent="-227008"/>
            <a:r>
              <a:rPr lang="en-US" sz="160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9615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8E2F7EE-7709-35BA-E127-C50BC1009EB5}"/>
              </a:ext>
            </a:extLst>
          </p:cNvPr>
          <p:cNvGrpSpPr/>
          <p:nvPr userDrawn="1"/>
        </p:nvGrpSpPr>
        <p:grpSpPr>
          <a:xfrm>
            <a:off x="7392511" y="-3678194"/>
            <a:ext cx="5720108" cy="5720108"/>
            <a:chOff x="105150" y="-3122465"/>
            <a:chExt cx="5720108" cy="5720108"/>
          </a:xfrm>
        </p:grpSpPr>
        <p:sp>
          <p:nvSpPr>
            <p:cNvPr id="13" name="Chord 12">
              <a:extLst>
                <a:ext uri="{FF2B5EF4-FFF2-40B4-BE49-F238E27FC236}">
                  <a16:creationId xmlns:a16="http://schemas.microsoft.com/office/drawing/2014/main" id="{CFC3B866-3DF5-6AE9-F330-2CEFF3126B8E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972540"/>
                <a:gd name="adj2" fmla="val 988089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7" name="Chord 16">
              <a:extLst>
                <a:ext uri="{FF2B5EF4-FFF2-40B4-BE49-F238E27FC236}">
                  <a16:creationId xmlns:a16="http://schemas.microsoft.com/office/drawing/2014/main" id="{77547FDB-7552-1776-A57C-6D2898A85D30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171149"/>
                <a:gd name="adj2" fmla="val 959543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8" name="Chord 17">
              <a:extLst>
                <a:ext uri="{FF2B5EF4-FFF2-40B4-BE49-F238E27FC236}">
                  <a16:creationId xmlns:a16="http://schemas.microsoft.com/office/drawing/2014/main" id="{8E1EBB78-23CA-495F-E7D4-052BBA798DA1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517033"/>
                <a:gd name="adj2" fmla="val 9345714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D368C0C-6AE5-6848-0E96-7325AE63A9B4}"/>
              </a:ext>
            </a:extLst>
          </p:cNvPr>
          <p:cNvGrpSpPr/>
          <p:nvPr userDrawn="1"/>
        </p:nvGrpSpPr>
        <p:grpSpPr>
          <a:xfrm rot="10800000">
            <a:off x="-989286" y="5065531"/>
            <a:ext cx="5720108" cy="5720108"/>
            <a:chOff x="105150" y="-3122465"/>
            <a:chExt cx="5720108" cy="5720108"/>
          </a:xfrm>
        </p:grpSpPr>
        <p:sp>
          <p:nvSpPr>
            <p:cNvPr id="20" name="Chord 19">
              <a:extLst>
                <a:ext uri="{FF2B5EF4-FFF2-40B4-BE49-F238E27FC236}">
                  <a16:creationId xmlns:a16="http://schemas.microsoft.com/office/drawing/2014/main" id="{55C18862-C275-34CA-0FF9-D648867E5C13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215574"/>
                <a:gd name="adj2" fmla="val 9610099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1" name="Chord 20">
              <a:extLst>
                <a:ext uri="{FF2B5EF4-FFF2-40B4-BE49-F238E27FC236}">
                  <a16:creationId xmlns:a16="http://schemas.microsoft.com/office/drawing/2014/main" id="{C643B53E-DE3F-C827-26B2-3F973467D24F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503614"/>
                <a:gd name="adj2" fmla="val 9282250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2" name="Chord 21">
              <a:extLst>
                <a:ext uri="{FF2B5EF4-FFF2-40B4-BE49-F238E27FC236}">
                  <a16:creationId xmlns:a16="http://schemas.microsoft.com/office/drawing/2014/main" id="{8AD67EB1-5666-9C24-2C0E-448AB847B637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82273"/>
                <a:gd name="adj2" fmla="val 8808404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0A24EED9-4ADC-C399-7382-301E46A0CC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917" y="269044"/>
            <a:ext cx="11796171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F5CDCDF-0943-B2E8-8886-A788DF7179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97917" y="989734"/>
            <a:ext cx="11796171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B4044E7-D165-021E-FE1B-FD68226DB0E4}"/>
              </a:ext>
            </a:extLst>
          </p:cNvPr>
          <p:cNvCxnSpPr>
            <a:cxnSpLocks/>
          </p:cNvCxnSpPr>
          <p:nvPr userDrawn="1"/>
        </p:nvCxnSpPr>
        <p:spPr>
          <a:xfrm>
            <a:off x="5243083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2FA1AA87-ED82-9197-6BF3-32B0F8579B01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6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24" name="Picture 2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78CA3334-FFDD-A2BC-1614-72E1172369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90"/>
            <a:ext cx="1280160" cy="265335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A2929E4-AA46-CC31-0FA0-F45E8D4B932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97915" y="1688463"/>
            <a:ext cx="11796172" cy="437083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z="2400"/>
              <a:t>Click to edit text</a:t>
            </a:r>
          </a:p>
          <a:p>
            <a:pPr marL="406351" lvl="1" indent="-242859"/>
            <a:r>
              <a:rPr lang="en-US" sz="2000"/>
              <a:t>Second level</a:t>
            </a:r>
          </a:p>
          <a:p>
            <a:pPr marL="744445" lvl="2" indent="-220636"/>
            <a:r>
              <a:rPr lang="en-US" sz="1800"/>
              <a:t>Third level</a:t>
            </a:r>
          </a:p>
          <a:p>
            <a:pPr marL="1206351" lvl="3" indent="-234921"/>
            <a:r>
              <a:rPr lang="en-US" sz="1600"/>
              <a:t>Fourth level</a:t>
            </a:r>
          </a:p>
          <a:p>
            <a:pPr marL="1715874" lvl="4" indent="-226986"/>
            <a:r>
              <a:rPr lang="en-US" sz="1600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0BB872B-0657-A57F-DECA-26C7B4F04EA0}"/>
              </a:ext>
            </a:extLst>
          </p:cNvPr>
          <p:cNvSpPr txBox="1"/>
          <p:nvPr userDrawn="1"/>
        </p:nvSpPr>
        <p:spPr>
          <a:xfrm>
            <a:off x="10001253" y="6451872"/>
            <a:ext cx="1779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solidFill>
                  <a:schemeClr val="bg1">
                    <a:lumMod val="50000"/>
                  </a:schemeClr>
                </a:solidFill>
              </a:rPr>
              <a:t>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3545735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-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50AB8BE2-3203-B29A-6549-F4662A7362DE}"/>
              </a:ext>
            </a:extLst>
          </p:cNvPr>
          <p:cNvGrpSpPr/>
          <p:nvPr userDrawn="1"/>
        </p:nvGrpSpPr>
        <p:grpSpPr>
          <a:xfrm>
            <a:off x="7392511" y="-3678194"/>
            <a:ext cx="5720108" cy="5720108"/>
            <a:chOff x="105150" y="-3122465"/>
            <a:chExt cx="5720108" cy="5720108"/>
          </a:xfrm>
        </p:grpSpPr>
        <p:sp>
          <p:nvSpPr>
            <p:cNvPr id="30" name="Chord 29">
              <a:extLst>
                <a:ext uri="{FF2B5EF4-FFF2-40B4-BE49-F238E27FC236}">
                  <a16:creationId xmlns:a16="http://schemas.microsoft.com/office/drawing/2014/main" id="{1A9E727C-B5A7-DDC4-5F65-307DD1BC2ACA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972540"/>
                <a:gd name="adj2" fmla="val 988089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1" name="Chord 30">
              <a:extLst>
                <a:ext uri="{FF2B5EF4-FFF2-40B4-BE49-F238E27FC236}">
                  <a16:creationId xmlns:a16="http://schemas.microsoft.com/office/drawing/2014/main" id="{D831F826-05DC-A9B0-1C1D-BEE636C2AB32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171149"/>
                <a:gd name="adj2" fmla="val 959543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2" name="Chord 31">
              <a:extLst>
                <a:ext uri="{FF2B5EF4-FFF2-40B4-BE49-F238E27FC236}">
                  <a16:creationId xmlns:a16="http://schemas.microsoft.com/office/drawing/2014/main" id="{4EF2C1D6-D255-62B4-D41F-19567F524BA0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517033"/>
                <a:gd name="adj2" fmla="val 9345714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E1A43A9-A101-1699-F9ED-D93E9BCFA3AA}"/>
              </a:ext>
            </a:extLst>
          </p:cNvPr>
          <p:cNvGrpSpPr/>
          <p:nvPr userDrawn="1"/>
        </p:nvGrpSpPr>
        <p:grpSpPr>
          <a:xfrm rot="10800000">
            <a:off x="-989286" y="5065531"/>
            <a:ext cx="5720108" cy="5720108"/>
            <a:chOff x="105150" y="-3122465"/>
            <a:chExt cx="5720108" cy="5720108"/>
          </a:xfrm>
        </p:grpSpPr>
        <p:sp>
          <p:nvSpPr>
            <p:cNvPr id="26" name="Chord 25">
              <a:extLst>
                <a:ext uri="{FF2B5EF4-FFF2-40B4-BE49-F238E27FC236}">
                  <a16:creationId xmlns:a16="http://schemas.microsoft.com/office/drawing/2014/main" id="{789F3800-E40C-8693-B5C5-16EDBA3B954E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215574"/>
                <a:gd name="adj2" fmla="val 9610099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7" name="Chord 26">
              <a:extLst>
                <a:ext uri="{FF2B5EF4-FFF2-40B4-BE49-F238E27FC236}">
                  <a16:creationId xmlns:a16="http://schemas.microsoft.com/office/drawing/2014/main" id="{13C2E123-3187-2B89-C07D-A1B2E77F3893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503614"/>
                <a:gd name="adj2" fmla="val 9282250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8" name="Chord 27">
              <a:extLst>
                <a:ext uri="{FF2B5EF4-FFF2-40B4-BE49-F238E27FC236}">
                  <a16:creationId xmlns:a16="http://schemas.microsoft.com/office/drawing/2014/main" id="{016E9895-16D1-6E83-FA72-F2BF6E083EC4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82273"/>
                <a:gd name="adj2" fmla="val 8808404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B5E0138-3A7C-947A-1805-6A974EDC98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5072" y="269044"/>
            <a:ext cx="11801856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no footer – to keep one line if possib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F3D3896-21F7-E606-32AE-78C80324F0E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95072" y="989734"/>
            <a:ext cx="11801856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6CCFDFF-0D99-CD81-3E40-E7EA1D9C0266}"/>
              </a:ext>
            </a:extLst>
          </p:cNvPr>
          <p:cNvCxnSpPr>
            <a:cxnSpLocks/>
          </p:cNvCxnSpPr>
          <p:nvPr userDrawn="1"/>
        </p:nvCxnSpPr>
        <p:spPr>
          <a:xfrm>
            <a:off x="5243083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B8B0E428-5670-D914-1E9A-0EB3598EE8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95072" y="1688464"/>
            <a:ext cx="11801856" cy="443484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None/>
              <a:defRPr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5pPr>
          </a:lstStyle>
          <a:p>
            <a:r>
              <a:rPr lang="en-US" sz="2400"/>
              <a:t>Click to edit text</a:t>
            </a:r>
          </a:p>
          <a:p>
            <a:pPr marL="406351" lvl="1" indent="-242859"/>
            <a:r>
              <a:rPr lang="en-US" sz="2000"/>
              <a:t>Second level</a:t>
            </a:r>
          </a:p>
          <a:p>
            <a:pPr marL="744445" lvl="2" indent="-220636"/>
            <a:r>
              <a:rPr lang="en-US" sz="1800"/>
              <a:t>Third level</a:t>
            </a:r>
          </a:p>
          <a:p>
            <a:pPr marL="1206351" lvl="3" indent="-234921"/>
            <a:r>
              <a:rPr lang="en-US" sz="1600"/>
              <a:t>Fourth level</a:t>
            </a:r>
          </a:p>
          <a:p>
            <a:pPr marL="1715874" lvl="4" indent="-226986"/>
            <a:r>
              <a:rPr lang="en-US" sz="160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71853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120">
          <p15:clr>
            <a:srgbClr val="FBAE40"/>
          </p15:clr>
        </p15:guide>
      </p15:sldGuideLst>
    </p:ext>
  </p:extLs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lin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42CF21A0-6A91-895A-CE7E-1B73C0CBC0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917" y="88544"/>
            <a:ext cx="11796169" cy="984885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the slide title – use this slide template for longer titles that go on 2 lines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1C59ED0-DFF6-9CFB-E870-E3E5A6ADCF5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97917" y="1329890"/>
            <a:ext cx="11796171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9E6CC12-A8E1-0799-C9E2-B223F4FBBD47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6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0" name="Picture 9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3B3BD67E-AAB3-7AE8-D165-0936A4B443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90"/>
            <a:ext cx="1280160" cy="265335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ED66CFB-7627-E5C3-BBBC-B369F84A3A0B}"/>
              </a:ext>
            </a:extLst>
          </p:cNvPr>
          <p:cNvCxnSpPr>
            <a:cxnSpLocks/>
          </p:cNvCxnSpPr>
          <p:nvPr userDrawn="1"/>
        </p:nvCxnSpPr>
        <p:spPr>
          <a:xfrm>
            <a:off x="5243083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22CDFF11-44D3-6398-ACBB-F7E4B6E10DA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97917" y="1975560"/>
            <a:ext cx="11796171" cy="4256277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None/>
              <a:defRPr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5pPr>
          </a:lstStyle>
          <a:p>
            <a:r>
              <a:rPr lang="en-US" sz="2400"/>
              <a:t>Click to edit text</a:t>
            </a:r>
          </a:p>
          <a:p>
            <a:pPr marL="406351" lvl="1" indent="-242859"/>
            <a:r>
              <a:rPr lang="en-US" sz="2000"/>
              <a:t>Second level</a:t>
            </a:r>
          </a:p>
          <a:p>
            <a:pPr marL="744445" lvl="2" indent="-220636"/>
            <a:r>
              <a:rPr lang="en-US" sz="1800"/>
              <a:t>Third level</a:t>
            </a:r>
          </a:p>
          <a:p>
            <a:pPr marL="1206351" lvl="3" indent="-234921"/>
            <a:r>
              <a:rPr lang="en-US" sz="1600"/>
              <a:t>Fourth level</a:t>
            </a:r>
          </a:p>
          <a:p>
            <a:pPr marL="1715874" lvl="4" indent="-226986"/>
            <a:r>
              <a:rPr lang="en-US" sz="160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29408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6313D4-977E-A5F2-6EC7-B1462BF548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3683" y="269044"/>
            <a:ext cx="11796169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No background layout – Click to add slid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4DF489C-64CD-4A63-833D-6B9A60F58F1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13683" y="989734"/>
            <a:ext cx="11796169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D7BB8B2-4A22-8A66-8036-6D8CE72F8D66}"/>
              </a:ext>
            </a:extLst>
          </p:cNvPr>
          <p:cNvCxnSpPr>
            <a:cxnSpLocks/>
          </p:cNvCxnSpPr>
          <p:nvPr userDrawn="1"/>
        </p:nvCxnSpPr>
        <p:spPr>
          <a:xfrm>
            <a:off x="5258850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E626FCA-CB63-6310-722E-F15225B2C263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6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C7B1B2CF-CB17-B455-3AC4-C989FAE632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90"/>
            <a:ext cx="1280160" cy="265335"/>
          </a:xfrm>
          <a:prstGeom prst="rect">
            <a:avLst/>
          </a:prstGeom>
        </p:spPr>
      </p:pic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D44C8C58-5417-F20F-CE72-487729D4C37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97917" y="1688464"/>
            <a:ext cx="11796171" cy="443484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None/>
              <a:defRPr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5pPr>
          </a:lstStyle>
          <a:p>
            <a:r>
              <a:rPr lang="en-US" sz="2400"/>
              <a:t>Click to edit text</a:t>
            </a:r>
          </a:p>
          <a:p>
            <a:pPr marL="406351" lvl="1" indent="-242859"/>
            <a:r>
              <a:rPr lang="en-US" sz="2000"/>
              <a:t>Second level</a:t>
            </a:r>
          </a:p>
          <a:p>
            <a:pPr marL="744445" lvl="2" indent="-220636"/>
            <a:r>
              <a:rPr lang="en-US" sz="1800"/>
              <a:t>Third level</a:t>
            </a:r>
          </a:p>
          <a:p>
            <a:pPr marL="1206351" lvl="3" indent="-234921"/>
            <a:r>
              <a:rPr lang="en-US" sz="1600"/>
              <a:t>Fourth level</a:t>
            </a:r>
          </a:p>
          <a:p>
            <a:pPr marL="1715874" lvl="4" indent="-226986"/>
            <a:r>
              <a:rPr lang="en-US" sz="160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4785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 background,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6313D4-977E-A5F2-6EC7-B1462BF548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5072" y="269044"/>
            <a:ext cx="11801856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No background, no footer layout – Click to add slide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4DF489C-64CD-4A63-833D-6B9A60F58F1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95072" y="989734"/>
            <a:ext cx="11801856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D7BB8B2-4A22-8A66-8036-6D8CE72F8D66}"/>
              </a:ext>
            </a:extLst>
          </p:cNvPr>
          <p:cNvCxnSpPr>
            <a:cxnSpLocks/>
          </p:cNvCxnSpPr>
          <p:nvPr userDrawn="1"/>
        </p:nvCxnSpPr>
        <p:spPr>
          <a:xfrm>
            <a:off x="5258850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EEB9A123-42CF-9EF7-202E-ED7386AB1F8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95072" y="1688464"/>
            <a:ext cx="11801856" cy="443484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None/>
              <a:defRPr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5pPr>
          </a:lstStyle>
          <a:p>
            <a:r>
              <a:rPr lang="en-US" sz="2400"/>
              <a:t>Click to edit text</a:t>
            </a:r>
          </a:p>
          <a:p>
            <a:pPr marL="406351" lvl="1" indent="-242859"/>
            <a:r>
              <a:rPr lang="en-US" sz="2000"/>
              <a:t>Second level</a:t>
            </a:r>
          </a:p>
          <a:p>
            <a:pPr marL="744445" lvl="2" indent="-220636"/>
            <a:r>
              <a:rPr lang="en-US" sz="1800"/>
              <a:t>Third level</a:t>
            </a:r>
          </a:p>
          <a:p>
            <a:pPr marL="1206351" lvl="3" indent="-234921"/>
            <a:r>
              <a:rPr lang="en-US" sz="1600"/>
              <a:t>Fourth level</a:t>
            </a:r>
          </a:p>
          <a:p>
            <a:pPr marL="1715874" lvl="4" indent="-226986"/>
            <a:r>
              <a:rPr lang="en-US" sz="160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16941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ckground and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FA822A4-B2F7-C631-91E2-4BD1209D7809}"/>
              </a:ext>
            </a:extLst>
          </p:cNvPr>
          <p:cNvGrpSpPr/>
          <p:nvPr userDrawn="1"/>
        </p:nvGrpSpPr>
        <p:grpSpPr>
          <a:xfrm rot="10800000">
            <a:off x="12033" y="4830966"/>
            <a:ext cx="6921331" cy="6921331"/>
            <a:chOff x="105150" y="-3122465"/>
            <a:chExt cx="5720108" cy="5720108"/>
          </a:xfrm>
        </p:grpSpPr>
        <p:sp>
          <p:nvSpPr>
            <p:cNvPr id="11" name="Chord 10">
              <a:extLst>
                <a:ext uri="{FF2B5EF4-FFF2-40B4-BE49-F238E27FC236}">
                  <a16:creationId xmlns:a16="http://schemas.microsoft.com/office/drawing/2014/main" id="{34A4E3B5-C00F-E00B-24E5-D0F1E3B3801E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261286"/>
                <a:gd name="adj2" fmla="val 9655466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2" name="Chord 11">
              <a:extLst>
                <a:ext uri="{FF2B5EF4-FFF2-40B4-BE49-F238E27FC236}">
                  <a16:creationId xmlns:a16="http://schemas.microsoft.com/office/drawing/2014/main" id="{6A8D66C2-1067-4EA5-495B-48BBCE58B32A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316505"/>
                <a:gd name="adj2" fmla="val 9253254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3" name="Chord 12">
              <a:extLst>
                <a:ext uri="{FF2B5EF4-FFF2-40B4-BE49-F238E27FC236}">
                  <a16:creationId xmlns:a16="http://schemas.microsoft.com/office/drawing/2014/main" id="{EA1CE5E8-44F0-898E-5207-31ACD20D8153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808574"/>
                <a:gd name="adj2" fmla="val 8936025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0BAC59C-0883-64A3-8BA5-74A88469C376}"/>
              </a:ext>
            </a:extLst>
          </p:cNvPr>
          <p:cNvGrpSpPr/>
          <p:nvPr userDrawn="1"/>
        </p:nvGrpSpPr>
        <p:grpSpPr>
          <a:xfrm>
            <a:off x="6064163" y="-3899901"/>
            <a:ext cx="7613464" cy="7613464"/>
            <a:chOff x="105150" y="-3122465"/>
            <a:chExt cx="5720108" cy="5720108"/>
          </a:xfrm>
        </p:grpSpPr>
        <p:sp>
          <p:nvSpPr>
            <p:cNvPr id="15" name="Chord 14">
              <a:extLst>
                <a:ext uri="{FF2B5EF4-FFF2-40B4-BE49-F238E27FC236}">
                  <a16:creationId xmlns:a16="http://schemas.microsoft.com/office/drawing/2014/main" id="{C39A5B3A-9F7B-B7F4-EFF8-81960CFA3883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6" name="Chord 15">
              <a:extLst>
                <a:ext uri="{FF2B5EF4-FFF2-40B4-BE49-F238E27FC236}">
                  <a16:creationId xmlns:a16="http://schemas.microsoft.com/office/drawing/2014/main" id="{26377B58-F47E-E4D0-1818-47D58541CAAB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7" name="Chord 16">
              <a:extLst>
                <a:ext uri="{FF2B5EF4-FFF2-40B4-BE49-F238E27FC236}">
                  <a16:creationId xmlns:a16="http://schemas.microsoft.com/office/drawing/2014/main" id="{EF1DDBF3-57DD-F669-4BAE-EDD64389A992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98D662-88FE-516B-7290-B301466CF50C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99854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C28233B-55CC-6D73-7FF9-4A451201EB80}"/>
              </a:ext>
            </a:extLst>
          </p:cNvPr>
          <p:cNvSpPr txBox="1"/>
          <p:nvPr userDrawn="1"/>
        </p:nvSpPr>
        <p:spPr>
          <a:xfrm>
            <a:off x="408928" y="6505107"/>
            <a:ext cx="842539" cy="207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8556"/>
            <a:r>
              <a:rPr lang="en-US" sz="751" err="1">
                <a:solidFill>
                  <a:srgbClr val="000000">
                    <a:lumMod val="65000"/>
                    <a:lumOff val="3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icus.com</a:t>
            </a:r>
            <a:endParaRPr lang="en-US" sz="751">
              <a:solidFill>
                <a:srgbClr val="000000">
                  <a:lumMod val="65000"/>
                  <a:lumOff val="35000"/>
                </a:srgb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1E428F-C172-72DD-8790-53BB80E0E4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441" y="6483801"/>
            <a:ext cx="215763" cy="215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671146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ckground and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FA822A4-B2F7-C631-91E2-4BD1209D7809}"/>
              </a:ext>
            </a:extLst>
          </p:cNvPr>
          <p:cNvGrpSpPr/>
          <p:nvPr userDrawn="1"/>
        </p:nvGrpSpPr>
        <p:grpSpPr>
          <a:xfrm rot="10800000">
            <a:off x="12033" y="4830966"/>
            <a:ext cx="6921331" cy="6921331"/>
            <a:chOff x="105150" y="-3122465"/>
            <a:chExt cx="5720108" cy="5720108"/>
          </a:xfrm>
        </p:grpSpPr>
        <p:sp>
          <p:nvSpPr>
            <p:cNvPr id="11" name="Chord 10">
              <a:extLst>
                <a:ext uri="{FF2B5EF4-FFF2-40B4-BE49-F238E27FC236}">
                  <a16:creationId xmlns:a16="http://schemas.microsoft.com/office/drawing/2014/main" id="{34A4E3B5-C00F-E00B-24E5-D0F1E3B3801E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261286"/>
                <a:gd name="adj2" fmla="val 9655466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2" name="Chord 11">
              <a:extLst>
                <a:ext uri="{FF2B5EF4-FFF2-40B4-BE49-F238E27FC236}">
                  <a16:creationId xmlns:a16="http://schemas.microsoft.com/office/drawing/2014/main" id="{6A8D66C2-1067-4EA5-495B-48BBCE58B32A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316505"/>
                <a:gd name="adj2" fmla="val 9253254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3" name="Chord 12">
              <a:extLst>
                <a:ext uri="{FF2B5EF4-FFF2-40B4-BE49-F238E27FC236}">
                  <a16:creationId xmlns:a16="http://schemas.microsoft.com/office/drawing/2014/main" id="{EA1CE5E8-44F0-898E-5207-31ACD20D8153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808574"/>
                <a:gd name="adj2" fmla="val 8936025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0BAC59C-0883-64A3-8BA5-74A88469C376}"/>
              </a:ext>
            </a:extLst>
          </p:cNvPr>
          <p:cNvGrpSpPr/>
          <p:nvPr userDrawn="1"/>
        </p:nvGrpSpPr>
        <p:grpSpPr>
          <a:xfrm>
            <a:off x="6064163" y="-3899901"/>
            <a:ext cx="7613464" cy="7613464"/>
            <a:chOff x="105150" y="-3122465"/>
            <a:chExt cx="5720108" cy="5720108"/>
          </a:xfrm>
        </p:grpSpPr>
        <p:sp>
          <p:nvSpPr>
            <p:cNvPr id="15" name="Chord 14">
              <a:extLst>
                <a:ext uri="{FF2B5EF4-FFF2-40B4-BE49-F238E27FC236}">
                  <a16:creationId xmlns:a16="http://schemas.microsoft.com/office/drawing/2014/main" id="{C39A5B3A-9F7B-B7F4-EFF8-81960CFA3883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6" name="Chord 15">
              <a:extLst>
                <a:ext uri="{FF2B5EF4-FFF2-40B4-BE49-F238E27FC236}">
                  <a16:creationId xmlns:a16="http://schemas.microsoft.com/office/drawing/2014/main" id="{26377B58-F47E-E4D0-1818-47D58541CAAB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7" name="Chord 16">
              <a:extLst>
                <a:ext uri="{FF2B5EF4-FFF2-40B4-BE49-F238E27FC236}">
                  <a16:creationId xmlns:a16="http://schemas.microsoft.com/office/drawing/2014/main" id="{EF1DDBF3-57DD-F669-4BAE-EDD64389A992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98D662-88FE-516B-7290-B301466CF50C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99854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C28233B-55CC-6D73-7FF9-4A451201EB80}"/>
              </a:ext>
            </a:extLst>
          </p:cNvPr>
          <p:cNvSpPr txBox="1"/>
          <p:nvPr userDrawn="1"/>
        </p:nvSpPr>
        <p:spPr>
          <a:xfrm>
            <a:off x="408927" y="6505108"/>
            <a:ext cx="785793" cy="2078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28556"/>
            <a:r>
              <a:rPr lang="en-US" sz="751" err="1">
                <a:solidFill>
                  <a:srgbClr val="000000">
                    <a:lumMod val="65000"/>
                    <a:lumOff val="3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icus.com</a:t>
            </a:r>
            <a:endParaRPr lang="en-US" sz="751">
              <a:solidFill>
                <a:srgbClr val="000000">
                  <a:lumMod val="65000"/>
                  <a:lumOff val="35000"/>
                </a:srgb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1E428F-C172-72DD-8790-53BB80E0E4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441" y="6483801"/>
            <a:ext cx="215763" cy="215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4781891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629"/>
          <a:stretch/>
        </p:blipFill>
        <p:spPr>
          <a:xfrm>
            <a:off x="0" y="0"/>
            <a:ext cx="3953437" cy="6858000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B8ADFF3-CB7C-2340-DA65-45BD32B7DA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579" y="2164796"/>
            <a:ext cx="4351788" cy="2543175"/>
          </a:xfrm>
        </p:spPr>
        <p:txBody>
          <a:bodyPr lIns="0" rIns="0" anchor="ctr">
            <a:normAutofit/>
          </a:bodyPr>
          <a:lstStyle>
            <a:lvl1pPr marL="0" indent="0">
              <a:lnSpc>
                <a:spcPct val="100000"/>
              </a:lnSpc>
              <a:buNone/>
              <a:defRPr sz="3200" b="1" spc="40" baseline="0">
                <a:solidFill>
                  <a:schemeClr val="accent1"/>
                </a:solidFill>
              </a:defRPr>
            </a:lvl1pPr>
            <a:lvl2pPr marL="6351" indent="0">
              <a:lnSpc>
                <a:spcPct val="100000"/>
              </a:lnSpc>
              <a:buNone/>
              <a:tabLst/>
              <a:defRPr sz="2400" spc="40">
                <a:solidFill>
                  <a:schemeClr val="accent1"/>
                </a:solidFill>
              </a:defRPr>
            </a:lvl2pPr>
            <a:lvl3pPr marL="6351" indent="0">
              <a:lnSpc>
                <a:spcPct val="100000"/>
              </a:lnSpc>
              <a:buNone/>
              <a:tabLst/>
              <a:defRPr sz="1800" spc="4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4" y="0"/>
            <a:ext cx="3953437" cy="6858000"/>
          </a:xfrm>
          <a:prstGeom prst="rect">
            <a:avLst/>
          </a:prstGeom>
          <a:solidFill>
            <a:schemeClr val="accent5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2168952" y="1655092"/>
            <a:ext cx="3566160" cy="3566160"/>
          </a:xfrm>
          <a:prstGeom prst="arc">
            <a:avLst>
              <a:gd name="adj1" fmla="val 6896465"/>
              <a:gd name="adj2" fmla="val 8818805"/>
            </a:avLst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02C61BF-C069-0363-B0D2-DAA6898F7DC8}"/>
              </a:ext>
            </a:extLst>
          </p:cNvPr>
          <p:cNvSpPr>
            <a:spLocks noChangeAspect="1"/>
          </p:cNvSpPr>
          <p:nvPr userDrawn="1"/>
        </p:nvSpPr>
        <p:spPr>
          <a:xfrm>
            <a:off x="2449655" y="1955899"/>
            <a:ext cx="2971800" cy="29718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6E5DF571-44A5-A36E-77C0-B0517DF656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71319" y="2173589"/>
            <a:ext cx="2528479" cy="253643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Arc 17">
            <a:extLst>
              <a:ext uri="{FF2B5EF4-FFF2-40B4-BE49-F238E27FC236}">
                <a16:creationId xmlns:a16="http://schemas.microsoft.com/office/drawing/2014/main" id="{C5E26A47-661A-77D8-1206-E7E0EFB71F49}"/>
              </a:ext>
            </a:extLst>
          </p:cNvPr>
          <p:cNvSpPr/>
          <p:nvPr userDrawn="1"/>
        </p:nvSpPr>
        <p:spPr>
          <a:xfrm>
            <a:off x="2247781" y="1734205"/>
            <a:ext cx="3408219" cy="3408219"/>
          </a:xfrm>
          <a:prstGeom prst="arc">
            <a:avLst>
              <a:gd name="adj1" fmla="val 16195710"/>
              <a:gd name="adj2" fmla="val 19139618"/>
            </a:avLst>
          </a:prstGeom>
          <a:ln w="38100">
            <a:solidFill>
              <a:schemeClr val="accent5">
                <a:alpha val="7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F8F06EE1-90EC-7EA3-C759-84EE4D6E2330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6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3288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4992">
          <p15:clr>
            <a:srgbClr val="FBAE40"/>
          </p15:clr>
        </p15:guide>
      </p15:sldGuideLst>
    </p:ext>
  </p:extLs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087" y="4235789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30558" y="4235789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2027" y="4235789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3498" y="4235789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4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83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916B36FD-E9C7-0EB7-4644-B045FADB85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9281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4ED6FD4A-B9F9-0837-DB72-5C770519EEF2}"/>
              </a:ext>
            </a:extLst>
          </p:cNvPr>
          <p:cNvSpPr/>
          <p:nvPr userDrawn="1"/>
        </p:nvSpPr>
        <p:spPr>
          <a:xfrm>
            <a:off x="832575" y="181794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3879B161-1AE2-FADA-334A-EFF2705442B2}"/>
              </a:ext>
            </a:extLst>
          </p:cNvPr>
          <p:cNvSpPr/>
          <p:nvPr userDrawn="1"/>
        </p:nvSpPr>
        <p:spPr>
          <a:xfrm>
            <a:off x="832575" y="181794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7328D67A-6990-6860-7D63-8EBD5F23BAC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50749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2ED2785D-F10D-C3F1-CD79-DDF830F565C7}"/>
              </a:ext>
            </a:extLst>
          </p:cNvPr>
          <p:cNvSpPr/>
          <p:nvPr userDrawn="1"/>
        </p:nvSpPr>
        <p:spPr>
          <a:xfrm>
            <a:off x="3634046" y="181794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D57C4C20-7530-E470-7383-AE41F046A1D7}"/>
              </a:ext>
            </a:extLst>
          </p:cNvPr>
          <p:cNvSpPr/>
          <p:nvPr userDrawn="1"/>
        </p:nvSpPr>
        <p:spPr>
          <a:xfrm>
            <a:off x="3634046" y="181794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D32EAB26-5370-6E5A-64B1-4E63CC98E0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52221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C0AD66CC-EC9B-A4CD-A7B9-42ED1646CB6C}"/>
              </a:ext>
            </a:extLst>
          </p:cNvPr>
          <p:cNvSpPr/>
          <p:nvPr userDrawn="1"/>
        </p:nvSpPr>
        <p:spPr>
          <a:xfrm>
            <a:off x="6435515" y="181794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3" name="Arc 22">
            <a:extLst>
              <a:ext uri="{FF2B5EF4-FFF2-40B4-BE49-F238E27FC236}">
                <a16:creationId xmlns:a16="http://schemas.microsoft.com/office/drawing/2014/main" id="{6E724543-4743-391D-133C-C13841B63EA8}"/>
              </a:ext>
            </a:extLst>
          </p:cNvPr>
          <p:cNvSpPr/>
          <p:nvPr userDrawn="1"/>
        </p:nvSpPr>
        <p:spPr>
          <a:xfrm>
            <a:off x="6435515" y="181794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A422CF18-5A3F-9CEA-0302-225E0F8673C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453693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Arc 24">
            <a:extLst>
              <a:ext uri="{FF2B5EF4-FFF2-40B4-BE49-F238E27FC236}">
                <a16:creationId xmlns:a16="http://schemas.microsoft.com/office/drawing/2014/main" id="{77D2335B-E767-A773-6A8A-16A2CC76473A}"/>
              </a:ext>
            </a:extLst>
          </p:cNvPr>
          <p:cNvSpPr/>
          <p:nvPr userDrawn="1"/>
        </p:nvSpPr>
        <p:spPr>
          <a:xfrm>
            <a:off x="9236986" y="181794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6" name="Arc 25">
            <a:extLst>
              <a:ext uri="{FF2B5EF4-FFF2-40B4-BE49-F238E27FC236}">
                <a16:creationId xmlns:a16="http://schemas.microsoft.com/office/drawing/2014/main" id="{4232EF04-DFEA-B19B-2994-47F6D5F805CF}"/>
              </a:ext>
            </a:extLst>
          </p:cNvPr>
          <p:cNvSpPr/>
          <p:nvPr userDrawn="1"/>
        </p:nvSpPr>
        <p:spPr>
          <a:xfrm>
            <a:off x="9236986" y="181794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DB18C11A-0BED-0028-13BD-7C1EE0E0DCC4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6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28" name="Picture 2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A9F90631-A342-0DF5-9F46-F9119EB381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90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337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629"/>
          <a:stretch/>
        </p:blipFill>
        <p:spPr>
          <a:xfrm>
            <a:off x="0" y="0"/>
            <a:ext cx="3953437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4" y="0"/>
            <a:ext cx="3953437" cy="6858000"/>
          </a:xfrm>
          <a:prstGeom prst="rect">
            <a:avLst/>
          </a:prstGeom>
          <a:solidFill>
            <a:schemeClr val="accent3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04211FC1-A1D3-9CB4-C1BB-A6B6AB173BB1}"/>
              </a:ext>
            </a:extLst>
          </p:cNvPr>
          <p:cNvSpPr>
            <a:spLocks noChangeAspect="1"/>
          </p:cNvSpPr>
          <p:nvPr userDrawn="1"/>
        </p:nvSpPr>
        <p:spPr>
          <a:xfrm>
            <a:off x="2449655" y="1955899"/>
            <a:ext cx="2971800" cy="29718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0" name="Picture Placeholder 10">
            <a:extLst>
              <a:ext uri="{FF2B5EF4-FFF2-40B4-BE49-F238E27FC236}">
                <a16:creationId xmlns:a16="http://schemas.microsoft.com/office/drawing/2014/main" id="{810BDFDA-EE48-88A2-8966-9DFA17417D2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71319" y="2173589"/>
            <a:ext cx="2528479" cy="253643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2168952" y="1655092"/>
            <a:ext cx="3566160" cy="3566160"/>
          </a:xfrm>
          <a:prstGeom prst="arc">
            <a:avLst>
              <a:gd name="adj1" fmla="val 6896465"/>
              <a:gd name="adj2" fmla="val 8818805"/>
            </a:avLst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" name="Arc 2">
            <a:extLst>
              <a:ext uri="{FF2B5EF4-FFF2-40B4-BE49-F238E27FC236}">
                <a16:creationId xmlns:a16="http://schemas.microsoft.com/office/drawing/2014/main" id="{8C8FF18D-29A5-1F5D-7963-9FDA4BC66886}"/>
              </a:ext>
            </a:extLst>
          </p:cNvPr>
          <p:cNvSpPr/>
          <p:nvPr userDrawn="1"/>
        </p:nvSpPr>
        <p:spPr>
          <a:xfrm>
            <a:off x="2247781" y="1734205"/>
            <a:ext cx="3408219" cy="3408219"/>
          </a:xfrm>
          <a:prstGeom prst="arc">
            <a:avLst>
              <a:gd name="adj1" fmla="val 16195710"/>
              <a:gd name="adj2" fmla="val 19139618"/>
            </a:avLst>
          </a:prstGeom>
          <a:ln w="38100">
            <a:solidFill>
              <a:schemeClr val="accent3">
                <a:alpha val="7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08ADA7B-80D4-677E-C859-DE8FB09DAA4E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6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51D0599B-9F14-59F6-48C2-398747F4A8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579" y="2164796"/>
            <a:ext cx="4351788" cy="2543175"/>
          </a:xfrm>
        </p:spPr>
        <p:txBody>
          <a:bodyPr lIns="0" rIns="0" anchor="ctr">
            <a:normAutofit/>
          </a:bodyPr>
          <a:lstStyle>
            <a:lvl1pPr marL="0" indent="0">
              <a:lnSpc>
                <a:spcPct val="100000"/>
              </a:lnSpc>
              <a:buNone/>
              <a:defRPr sz="3200" b="1" spc="40" baseline="0">
                <a:solidFill>
                  <a:schemeClr val="accent1"/>
                </a:solidFill>
              </a:defRPr>
            </a:lvl1pPr>
            <a:lvl2pPr marL="6351" indent="0">
              <a:lnSpc>
                <a:spcPct val="100000"/>
              </a:lnSpc>
              <a:buNone/>
              <a:tabLst/>
              <a:defRPr sz="2400" spc="40">
                <a:solidFill>
                  <a:schemeClr val="accent1"/>
                </a:solidFill>
              </a:defRPr>
            </a:lvl2pPr>
            <a:lvl3pPr marL="6351" indent="0">
              <a:lnSpc>
                <a:spcPct val="100000"/>
              </a:lnSpc>
              <a:buNone/>
              <a:tabLst/>
              <a:defRPr sz="1800" spc="4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</p:spTree>
    <p:extLst>
      <p:ext uri="{BB962C8B-B14F-4D97-AF65-F5344CB8AC3E}">
        <p14:creationId xmlns:p14="http://schemas.microsoft.com/office/powerpoint/2010/main" val="862627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499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9960D7D0-F4FE-C3CB-40A5-AE190B2DD893}"/>
              </a:ext>
            </a:extLst>
          </p:cNvPr>
          <p:cNvGrpSpPr/>
          <p:nvPr userDrawn="1"/>
        </p:nvGrpSpPr>
        <p:grpSpPr>
          <a:xfrm rot="10800000">
            <a:off x="155943" y="4802440"/>
            <a:ext cx="6709295" cy="6709295"/>
            <a:chOff x="105150" y="-3122465"/>
            <a:chExt cx="5720108" cy="5720108"/>
          </a:xfrm>
        </p:grpSpPr>
        <p:sp>
          <p:nvSpPr>
            <p:cNvPr id="6" name="Chord 5">
              <a:extLst>
                <a:ext uri="{FF2B5EF4-FFF2-40B4-BE49-F238E27FC236}">
                  <a16:creationId xmlns:a16="http://schemas.microsoft.com/office/drawing/2014/main" id="{051EAE4D-0F55-8C23-8144-DDFB7DD9D7FD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099984"/>
                <a:gd name="adj2" fmla="val 9758148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7" name="Chord 6">
              <a:extLst>
                <a:ext uri="{FF2B5EF4-FFF2-40B4-BE49-F238E27FC236}">
                  <a16:creationId xmlns:a16="http://schemas.microsoft.com/office/drawing/2014/main" id="{85DCA7C8-D8E0-C55A-BD10-0996743308B1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379694"/>
                <a:gd name="adj2" fmla="val 9313731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8" name="Chord 7">
              <a:extLst>
                <a:ext uri="{FF2B5EF4-FFF2-40B4-BE49-F238E27FC236}">
                  <a16:creationId xmlns:a16="http://schemas.microsoft.com/office/drawing/2014/main" id="{77AAA76D-1592-6CD1-5CAC-5A6CF1D69313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673024"/>
                <a:gd name="adj2" fmla="val 8811419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937B918-0B23-74EA-9E46-09DA10602EAD}"/>
              </a:ext>
            </a:extLst>
          </p:cNvPr>
          <p:cNvGrpSpPr/>
          <p:nvPr userDrawn="1"/>
        </p:nvGrpSpPr>
        <p:grpSpPr>
          <a:xfrm>
            <a:off x="6113028" y="-2990654"/>
            <a:ext cx="6921331" cy="6921331"/>
            <a:chOff x="105150" y="-3122465"/>
            <a:chExt cx="5720108" cy="5720108"/>
          </a:xfrm>
        </p:grpSpPr>
        <p:sp>
          <p:nvSpPr>
            <p:cNvPr id="14" name="Chord 13">
              <a:extLst>
                <a:ext uri="{FF2B5EF4-FFF2-40B4-BE49-F238E27FC236}">
                  <a16:creationId xmlns:a16="http://schemas.microsoft.com/office/drawing/2014/main" id="{3165E45C-C0B5-FC43-B6ED-6CB11C0666AB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20867905"/>
                <a:gd name="adj2" fmla="val 11478846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5" name="Chord 14">
              <a:extLst>
                <a:ext uri="{FF2B5EF4-FFF2-40B4-BE49-F238E27FC236}">
                  <a16:creationId xmlns:a16="http://schemas.microsoft.com/office/drawing/2014/main" id="{C39AC530-802D-1D32-ADEA-4D3CBBD2608C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0769818"/>
                <a:gd name="adj2" fmla="val 11622062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6" name="Chord 15">
              <a:extLst>
                <a:ext uri="{FF2B5EF4-FFF2-40B4-BE49-F238E27FC236}">
                  <a16:creationId xmlns:a16="http://schemas.microsoft.com/office/drawing/2014/main" id="{4353FB93-DD46-C54A-0024-A48F7D431266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656920"/>
                <a:gd name="adj2" fmla="val 11801938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pic>
        <p:nvPicPr>
          <p:cNvPr id="10" name="Picture 9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535980FD-1B8D-F6F1-3B64-BF3D992FB2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400" y="1191703"/>
            <a:ext cx="2574333" cy="533048"/>
          </a:xfrm>
          <a:prstGeom prst="rect">
            <a:avLst/>
          </a:prstGeom>
        </p:spPr>
      </p:pic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116EA175-7FC7-791A-478D-FD718123C8E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36005" y="1960416"/>
            <a:ext cx="2937163" cy="2946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20983D6-53D7-C902-9AB0-E904BD7D754E}"/>
              </a:ext>
            </a:extLst>
          </p:cNvPr>
          <p:cNvSpPr/>
          <p:nvPr userDrawn="1"/>
        </p:nvSpPr>
        <p:spPr>
          <a:xfrm>
            <a:off x="624263" y="3751217"/>
            <a:ext cx="1512396" cy="73152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047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9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FDA8D16F-CC24-CC8D-1CC3-6438691841E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4056" y="4027685"/>
            <a:ext cx="6261215" cy="429635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20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7E4DE2E-A9F6-4747-D370-1390F65F001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4425" y="2013036"/>
            <a:ext cx="6321588" cy="1606653"/>
          </a:xfrm>
        </p:spPr>
        <p:txBody>
          <a:bodyPr lIns="0" rIns="0" anchor="b">
            <a:noAutofit/>
          </a:bodyPr>
          <a:lstStyle>
            <a:lvl1pPr algn="l">
              <a:defRPr sz="3600" b="1" spc="3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Main Presentation Header Goes Here</a:t>
            </a:r>
          </a:p>
        </p:txBody>
      </p:sp>
    </p:spTree>
    <p:extLst>
      <p:ext uri="{BB962C8B-B14F-4D97-AF65-F5344CB8AC3E}">
        <p14:creationId xmlns:p14="http://schemas.microsoft.com/office/powerpoint/2010/main" val="3013348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84">
          <p15:clr>
            <a:srgbClr val="FBAE40"/>
          </p15:clr>
        </p15:guide>
        <p15:guide id="4" pos="729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 and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FA822A4-B2F7-C631-91E2-4BD1209D7809}"/>
              </a:ext>
            </a:extLst>
          </p:cNvPr>
          <p:cNvGrpSpPr/>
          <p:nvPr userDrawn="1"/>
        </p:nvGrpSpPr>
        <p:grpSpPr>
          <a:xfrm rot="10800000">
            <a:off x="12033" y="4830966"/>
            <a:ext cx="6921331" cy="6921331"/>
            <a:chOff x="105150" y="-3122465"/>
            <a:chExt cx="5720108" cy="5720108"/>
          </a:xfrm>
        </p:grpSpPr>
        <p:sp>
          <p:nvSpPr>
            <p:cNvPr id="11" name="Chord 10">
              <a:extLst>
                <a:ext uri="{FF2B5EF4-FFF2-40B4-BE49-F238E27FC236}">
                  <a16:creationId xmlns:a16="http://schemas.microsoft.com/office/drawing/2014/main" id="{34A4E3B5-C00F-E00B-24E5-D0F1E3B3801E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261286"/>
                <a:gd name="adj2" fmla="val 9655466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2" name="Chord 11">
              <a:extLst>
                <a:ext uri="{FF2B5EF4-FFF2-40B4-BE49-F238E27FC236}">
                  <a16:creationId xmlns:a16="http://schemas.microsoft.com/office/drawing/2014/main" id="{6A8D66C2-1067-4EA5-495B-48BBCE58B32A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316505"/>
                <a:gd name="adj2" fmla="val 9253254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3" name="Chord 12">
              <a:extLst>
                <a:ext uri="{FF2B5EF4-FFF2-40B4-BE49-F238E27FC236}">
                  <a16:creationId xmlns:a16="http://schemas.microsoft.com/office/drawing/2014/main" id="{EA1CE5E8-44F0-898E-5207-31ACD20D8153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808574"/>
                <a:gd name="adj2" fmla="val 8936025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0BAC59C-0883-64A3-8BA5-74A88469C376}"/>
              </a:ext>
            </a:extLst>
          </p:cNvPr>
          <p:cNvGrpSpPr/>
          <p:nvPr userDrawn="1"/>
        </p:nvGrpSpPr>
        <p:grpSpPr>
          <a:xfrm>
            <a:off x="6064162" y="-3899901"/>
            <a:ext cx="7613464" cy="7613464"/>
            <a:chOff x="105150" y="-3122465"/>
            <a:chExt cx="5720108" cy="5720108"/>
          </a:xfrm>
        </p:grpSpPr>
        <p:sp>
          <p:nvSpPr>
            <p:cNvPr id="15" name="Chord 14">
              <a:extLst>
                <a:ext uri="{FF2B5EF4-FFF2-40B4-BE49-F238E27FC236}">
                  <a16:creationId xmlns:a16="http://schemas.microsoft.com/office/drawing/2014/main" id="{C39A5B3A-9F7B-B7F4-EFF8-81960CFA3883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6" name="Chord 15">
              <a:extLst>
                <a:ext uri="{FF2B5EF4-FFF2-40B4-BE49-F238E27FC236}">
                  <a16:creationId xmlns:a16="http://schemas.microsoft.com/office/drawing/2014/main" id="{26377B58-F47E-E4D0-1818-47D58541CAAB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7" name="Chord 16">
              <a:extLst>
                <a:ext uri="{FF2B5EF4-FFF2-40B4-BE49-F238E27FC236}">
                  <a16:creationId xmlns:a16="http://schemas.microsoft.com/office/drawing/2014/main" id="{EF1DDBF3-57DD-F669-4BAE-EDD64389A992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98D662-88FE-516B-7290-B301466CF50C}"/>
              </a:ext>
            </a:extLst>
          </p:cNvPr>
          <p:cNvSpPr txBox="1">
            <a:spLocks/>
          </p:cNvSpPr>
          <p:nvPr userDrawn="1"/>
        </p:nvSpPr>
        <p:spPr>
          <a:xfrm>
            <a:off x="11517616" y="6499849"/>
            <a:ext cx="476468" cy="183662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C28233B-55CC-6D73-7FF9-4A451201EB80}"/>
              </a:ext>
            </a:extLst>
          </p:cNvPr>
          <p:cNvSpPr txBox="1"/>
          <p:nvPr userDrawn="1"/>
        </p:nvSpPr>
        <p:spPr>
          <a:xfrm>
            <a:off x="408927" y="6505102"/>
            <a:ext cx="784189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28577"/>
            <a:r>
              <a:rPr lang="en-US" sz="750" err="1">
                <a:solidFill>
                  <a:srgbClr val="000000">
                    <a:lumMod val="65000"/>
                    <a:lumOff val="3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icus.com</a:t>
            </a:r>
            <a:endParaRPr lang="en-US" sz="750">
              <a:solidFill>
                <a:srgbClr val="000000">
                  <a:lumMod val="65000"/>
                  <a:lumOff val="35000"/>
                </a:srgb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1E428F-C172-72DD-8790-53BB80E0E4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439" y="6483799"/>
            <a:ext cx="215762" cy="215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148102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087" y="4235789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30558" y="4235789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2027" y="4235789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3498" y="4235789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4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83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916B36FD-E9C7-0EB7-4644-B045FADB85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9281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4ED6FD4A-B9F9-0837-DB72-5C770519EEF2}"/>
              </a:ext>
            </a:extLst>
          </p:cNvPr>
          <p:cNvSpPr/>
          <p:nvPr userDrawn="1"/>
        </p:nvSpPr>
        <p:spPr>
          <a:xfrm>
            <a:off x="832575" y="181794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3879B161-1AE2-FADA-334A-EFF2705442B2}"/>
              </a:ext>
            </a:extLst>
          </p:cNvPr>
          <p:cNvSpPr/>
          <p:nvPr userDrawn="1"/>
        </p:nvSpPr>
        <p:spPr>
          <a:xfrm>
            <a:off x="832575" y="181794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7328D67A-6990-6860-7D63-8EBD5F23BAC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50749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2ED2785D-F10D-C3F1-CD79-DDF830F565C7}"/>
              </a:ext>
            </a:extLst>
          </p:cNvPr>
          <p:cNvSpPr/>
          <p:nvPr userDrawn="1"/>
        </p:nvSpPr>
        <p:spPr>
          <a:xfrm>
            <a:off x="3634046" y="181794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D57C4C20-7530-E470-7383-AE41F046A1D7}"/>
              </a:ext>
            </a:extLst>
          </p:cNvPr>
          <p:cNvSpPr/>
          <p:nvPr userDrawn="1"/>
        </p:nvSpPr>
        <p:spPr>
          <a:xfrm>
            <a:off x="3634046" y="181794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D32EAB26-5370-6E5A-64B1-4E63CC98E0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52221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C0AD66CC-EC9B-A4CD-A7B9-42ED1646CB6C}"/>
              </a:ext>
            </a:extLst>
          </p:cNvPr>
          <p:cNvSpPr/>
          <p:nvPr userDrawn="1"/>
        </p:nvSpPr>
        <p:spPr>
          <a:xfrm>
            <a:off x="6435515" y="181794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3" name="Arc 22">
            <a:extLst>
              <a:ext uri="{FF2B5EF4-FFF2-40B4-BE49-F238E27FC236}">
                <a16:creationId xmlns:a16="http://schemas.microsoft.com/office/drawing/2014/main" id="{6E724543-4743-391D-133C-C13841B63EA8}"/>
              </a:ext>
            </a:extLst>
          </p:cNvPr>
          <p:cNvSpPr/>
          <p:nvPr userDrawn="1"/>
        </p:nvSpPr>
        <p:spPr>
          <a:xfrm>
            <a:off x="6435515" y="181794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A422CF18-5A3F-9CEA-0302-225E0F8673C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453693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Arc 24">
            <a:extLst>
              <a:ext uri="{FF2B5EF4-FFF2-40B4-BE49-F238E27FC236}">
                <a16:creationId xmlns:a16="http://schemas.microsoft.com/office/drawing/2014/main" id="{77D2335B-E767-A773-6A8A-16A2CC76473A}"/>
              </a:ext>
            </a:extLst>
          </p:cNvPr>
          <p:cNvSpPr/>
          <p:nvPr userDrawn="1"/>
        </p:nvSpPr>
        <p:spPr>
          <a:xfrm>
            <a:off x="9236986" y="181794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6" name="Arc 25">
            <a:extLst>
              <a:ext uri="{FF2B5EF4-FFF2-40B4-BE49-F238E27FC236}">
                <a16:creationId xmlns:a16="http://schemas.microsoft.com/office/drawing/2014/main" id="{4232EF04-DFEA-B19B-2994-47F6D5F805CF}"/>
              </a:ext>
            </a:extLst>
          </p:cNvPr>
          <p:cNvSpPr/>
          <p:nvPr userDrawn="1"/>
        </p:nvSpPr>
        <p:spPr>
          <a:xfrm>
            <a:off x="9236986" y="181794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4BECF39-AEC7-190C-DCFF-404879FB2D42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6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26CF2825-01B8-E296-3BF9-CE9648CD87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90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902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629"/>
          <a:stretch/>
        </p:blipFill>
        <p:spPr>
          <a:xfrm>
            <a:off x="0" y="0"/>
            <a:ext cx="3953437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4" y="0"/>
            <a:ext cx="3953437" cy="6858000"/>
          </a:xfrm>
          <a:prstGeom prst="rect">
            <a:avLst/>
          </a:prstGeom>
          <a:solidFill>
            <a:schemeClr val="accent4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2168952" y="1655092"/>
            <a:ext cx="3566160" cy="3566160"/>
          </a:xfrm>
          <a:prstGeom prst="arc">
            <a:avLst>
              <a:gd name="adj1" fmla="val 6896465"/>
              <a:gd name="adj2" fmla="val 8818805"/>
            </a:avLst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A5158757-180A-27F0-F391-4AF4A52DD295}"/>
              </a:ext>
            </a:extLst>
          </p:cNvPr>
          <p:cNvSpPr>
            <a:spLocks noChangeAspect="1"/>
          </p:cNvSpPr>
          <p:nvPr userDrawn="1"/>
        </p:nvSpPr>
        <p:spPr>
          <a:xfrm>
            <a:off x="2449655" y="1955899"/>
            <a:ext cx="2971800" cy="29718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D3223CE2-BE96-BA32-BC41-72D7C8E35C4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71319" y="2173589"/>
            <a:ext cx="2528479" cy="253643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AD2AA2F8-DEF1-2E59-2A2C-DA7228240DFD}"/>
              </a:ext>
            </a:extLst>
          </p:cNvPr>
          <p:cNvSpPr/>
          <p:nvPr userDrawn="1"/>
        </p:nvSpPr>
        <p:spPr>
          <a:xfrm>
            <a:off x="2247781" y="1734205"/>
            <a:ext cx="3408219" cy="3408219"/>
          </a:xfrm>
          <a:prstGeom prst="arc">
            <a:avLst>
              <a:gd name="adj1" fmla="val 16195710"/>
              <a:gd name="adj2" fmla="val 19139618"/>
            </a:avLst>
          </a:prstGeom>
          <a:ln w="38100">
            <a:solidFill>
              <a:schemeClr val="accent4">
                <a:alpha val="7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F339642-4EBF-39A8-1E9D-74A6E5C296FD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6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F19CFD58-C58F-6313-C173-CDD5F51E2F0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579" y="2164796"/>
            <a:ext cx="4351788" cy="2543175"/>
          </a:xfrm>
        </p:spPr>
        <p:txBody>
          <a:bodyPr lIns="0" rIns="0" anchor="ctr">
            <a:normAutofit/>
          </a:bodyPr>
          <a:lstStyle>
            <a:lvl1pPr marL="0" indent="0">
              <a:lnSpc>
                <a:spcPct val="100000"/>
              </a:lnSpc>
              <a:buNone/>
              <a:defRPr sz="3200" b="1" spc="40" baseline="0">
                <a:solidFill>
                  <a:schemeClr val="accent1"/>
                </a:solidFill>
              </a:defRPr>
            </a:lvl1pPr>
            <a:lvl2pPr marL="6351" indent="0">
              <a:lnSpc>
                <a:spcPct val="100000"/>
              </a:lnSpc>
              <a:buNone/>
              <a:tabLst/>
              <a:defRPr sz="2400" spc="40">
                <a:solidFill>
                  <a:schemeClr val="accent1"/>
                </a:solidFill>
              </a:defRPr>
            </a:lvl2pPr>
            <a:lvl3pPr marL="6351" indent="0">
              <a:lnSpc>
                <a:spcPct val="100000"/>
              </a:lnSpc>
              <a:buNone/>
              <a:tabLst/>
              <a:defRPr sz="1800" spc="4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</p:spTree>
    <p:extLst>
      <p:ext uri="{BB962C8B-B14F-4D97-AF65-F5344CB8AC3E}">
        <p14:creationId xmlns:p14="http://schemas.microsoft.com/office/powerpoint/2010/main" val="2132409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4992">
          <p15:clr>
            <a:srgbClr val="FBAE40"/>
          </p15:clr>
        </p15:guide>
      </p15:sldGuideLst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087" y="4235789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30558" y="4235789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2027" y="4235789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3498" y="4235789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4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83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916B36FD-E9C7-0EB7-4644-B045FADB85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9281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4ED6FD4A-B9F9-0837-DB72-5C770519EEF2}"/>
              </a:ext>
            </a:extLst>
          </p:cNvPr>
          <p:cNvSpPr/>
          <p:nvPr userDrawn="1"/>
        </p:nvSpPr>
        <p:spPr>
          <a:xfrm>
            <a:off x="832575" y="181794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3879B161-1AE2-FADA-334A-EFF2705442B2}"/>
              </a:ext>
            </a:extLst>
          </p:cNvPr>
          <p:cNvSpPr/>
          <p:nvPr userDrawn="1"/>
        </p:nvSpPr>
        <p:spPr>
          <a:xfrm>
            <a:off x="832575" y="181794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7328D67A-6990-6860-7D63-8EBD5F23BAC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50749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2ED2785D-F10D-C3F1-CD79-DDF830F565C7}"/>
              </a:ext>
            </a:extLst>
          </p:cNvPr>
          <p:cNvSpPr/>
          <p:nvPr userDrawn="1"/>
        </p:nvSpPr>
        <p:spPr>
          <a:xfrm>
            <a:off x="3634046" y="181794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D57C4C20-7530-E470-7383-AE41F046A1D7}"/>
              </a:ext>
            </a:extLst>
          </p:cNvPr>
          <p:cNvSpPr/>
          <p:nvPr userDrawn="1"/>
        </p:nvSpPr>
        <p:spPr>
          <a:xfrm>
            <a:off x="3634046" y="181794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D32EAB26-5370-6E5A-64B1-4E63CC98E0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52221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C0AD66CC-EC9B-A4CD-A7B9-42ED1646CB6C}"/>
              </a:ext>
            </a:extLst>
          </p:cNvPr>
          <p:cNvSpPr/>
          <p:nvPr userDrawn="1"/>
        </p:nvSpPr>
        <p:spPr>
          <a:xfrm>
            <a:off x="6435515" y="181794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3" name="Arc 22">
            <a:extLst>
              <a:ext uri="{FF2B5EF4-FFF2-40B4-BE49-F238E27FC236}">
                <a16:creationId xmlns:a16="http://schemas.microsoft.com/office/drawing/2014/main" id="{6E724543-4743-391D-133C-C13841B63EA8}"/>
              </a:ext>
            </a:extLst>
          </p:cNvPr>
          <p:cNvSpPr/>
          <p:nvPr userDrawn="1"/>
        </p:nvSpPr>
        <p:spPr>
          <a:xfrm>
            <a:off x="6435515" y="181794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A422CF18-5A3F-9CEA-0302-225E0F8673C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453693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Arc 24">
            <a:extLst>
              <a:ext uri="{FF2B5EF4-FFF2-40B4-BE49-F238E27FC236}">
                <a16:creationId xmlns:a16="http://schemas.microsoft.com/office/drawing/2014/main" id="{77D2335B-E767-A773-6A8A-16A2CC76473A}"/>
              </a:ext>
            </a:extLst>
          </p:cNvPr>
          <p:cNvSpPr/>
          <p:nvPr userDrawn="1"/>
        </p:nvSpPr>
        <p:spPr>
          <a:xfrm>
            <a:off x="9236986" y="181794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6" name="Arc 25">
            <a:extLst>
              <a:ext uri="{FF2B5EF4-FFF2-40B4-BE49-F238E27FC236}">
                <a16:creationId xmlns:a16="http://schemas.microsoft.com/office/drawing/2014/main" id="{4232EF04-DFEA-B19B-2994-47F6D5F805CF}"/>
              </a:ext>
            </a:extLst>
          </p:cNvPr>
          <p:cNvSpPr/>
          <p:nvPr userDrawn="1"/>
        </p:nvSpPr>
        <p:spPr>
          <a:xfrm>
            <a:off x="9236986" y="181794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DA4AD3B-A48B-FE95-DABE-9280DC42859F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6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2A8C84DE-812B-4CCA-736C-CACC213548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90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704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629"/>
          <a:stretch/>
        </p:blipFill>
        <p:spPr>
          <a:xfrm>
            <a:off x="0" y="0"/>
            <a:ext cx="3953437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-17882" y="0"/>
            <a:ext cx="3953437" cy="6858000"/>
          </a:xfrm>
          <a:prstGeom prst="rect">
            <a:avLst/>
          </a:prstGeom>
          <a:solidFill>
            <a:srgbClr val="D51236">
              <a:alpha val="7098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2168952" y="1655092"/>
            <a:ext cx="3566160" cy="3566160"/>
          </a:xfrm>
          <a:prstGeom prst="arc">
            <a:avLst>
              <a:gd name="adj1" fmla="val 6896465"/>
              <a:gd name="adj2" fmla="val 8818805"/>
            </a:avLst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C5FD2D68-2060-1E2D-2AF0-AC75F6A5380F}"/>
              </a:ext>
            </a:extLst>
          </p:cNvPr>
          <p:cNvSpPr>
            <a:spLocks noChangeAspect="1"/>
          </p:cNvSpPr>
          <p:nvPr userDrawn="1"/>
        </p:nvSpPr>
        <p:spPr>
          <a:xfrm>
            <a:off x="2449655" y="1955899"/>
            <a:ext cx="2971800" cy="29718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FD1A75F9-6602-5301-7392-68323FD6ACD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71319" y="2173589"/>
            <a:ext cx="2528479" cy="253643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2D0A4C88-0868-296B-A427-A0E9FE4F01B7}"/>
              </a:ext>
            </a:extLst>
          </p:cNvPr>
          <p:cNvSpPr/>
          <p:nvPr userDrawn="1"/>
        </p:nvSpPr>
        <p:spPr>
          <a:xfrm>
            <a:off x="2247781" y="1734205"/>
            <a:ext cx="3408219" cy="3408219"/>
          </a:xfrm>
          <a:prstGeom prst="arc">
            <a:avLst>
              <a:gd name="adj1" fmla="val 16195710"/>
              <a:gd name="adj2" fmla="val 19139618"/>
            </a:avLst>
          </a:prstGeom>
          <a:ln w="38100">
            <a:solidFill>
              <a:schemeClr val="accent2">
                <a:alpha val="7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3EE678F-F1A4-5430-C2A7-11B43E0BCCD1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6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C3D6704F-7411-3CDE-9EBF-CA5B7AC402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579" y="2164796"/>
            <a:ext cx="4351788" cy="2543175"/>
          </a:xfrm>
        </p:spPr>
        <p:txBody>
          <a:bodyPr lIns="0" rIns="0" anchor="ctr">
            <a:normAutofit/>
          </a:bodyPr>
          <a:lstStyle>
            <a:lvl1pPr marL="0" indent="0">
              <a:lnSpc>
                <a:spcPct val="100000"/>
              </a:lnSpc>
              <a:buNone/>
              <a:defRPr sz="3200" b="1" spc="40" baseline="0">
                <a:solidFill>
                  <a:schemeClr val="accent1"/>
                </a:solidFill>
              </a:defRPr>
            </a:lvl1pPr>
            <a:lvl2pPr marL="6351" indent="0">
              <a:lnSpc>
                <a:spcPct val="100000"/>
              </a:lnSpc>
              <a:buNone/>
              <a:tabLst/>
              <a:defRPr sz="2400" spc="40">
                <a:solidFill>
                  <a:schemeClr val="accent1"/>
                </a:solidFill>
              </a:defRPr>
            </a:lvl2pPr>
            <a:lvl3pPr marL="6351" indent="0">
              <a:lnSpc>
                <a:spcPct val="100000"/>
              </a:lnSpc>
              <a:buNone/>
              <a:tabLst/>
              <a:defRPr sz="1800" spc="4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</p:spTree>
    <p:extLst>
      <p:ext uri="{BB962C8B-B14F-4D97-AF65-F5344CB8AC3E}">
        <p14:creationId xmlns:p14="http://schemas.microsoft.com/office/powerpoint/2010/main" val="2470591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4992">
          <p15:clr>
            <a:srgbClr val="FBAE40"/>
          </p15:clr>
        </p15:guide>
      </p15:sldGuideLst>
    </p:ext>
  </p:extLs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087" y="4235789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30558" y="4235789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2027" y="4235789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3498" y="4235789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1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1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1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4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83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916B36FD-E9C7-0EB7-4644-B045FADB85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9281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4ED6FD4A-B9F9-0837-DB72-5C770519EEF2}"/>
              </a:ext>
            </a:extLst>
          </p:cNvPr>
          <p:cNvSpPr/>
          <p:nvPr userDrawn="1"/>
        </p:nvSpPr>
        <p:spPr>
          <a:xfrm>
            <a:off x="832575" y="181794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3879B161-1AE2-FADA-334A-EFF2705442B2}"/>
              </a:ext>
            </a:extLst>
          </p:cNvPr>
          <p:cNvSpPr/>
          <p:nvPr userDrawn="1"/>
        </p:nvSpPr>
        <p:spPr>
          <a:xfrm>
            <a:off x="832575" y="181794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7328D67A-6990-6860-7D63-8EBD5F23BAC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50749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2ED2785D-F10D-C3F1-CD79-DDF830F565C7}"/>
              </a:ext>
            </a:extLst>
          </p:cNvPr>
          <p:cNvSpPr/>
          <p:nvPr userDrawn="1"/>
        </p:nvSpPr>
        <p:spPr>
          <a:xfrm>
            <a:off x="3634046" y="181794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D57C4C20-7530-E470-7383-AE41F046A1D7}"/>
              </a:ext>
            </a:extLst>
          </p:cNvPr>
          <p:cNvSpPr/>
          <p:nvPr userDrawn="1"/>
        </p:nvSpPr>
        <p:spPr>
          <a:xfrm>
            <a:off x="3634046" y="181794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D32EAB26-5370-6E5A-64B1-4E63CC98E0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52221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C0AD66CC-EC9B-A4CD-A7B9-42ED1646CB6C}"/>
              </a:ext>
            </a:extLst>
          </p:cNvPr>
          <p:cNvSpPr/>
          <p:nvPr userDrawn="1"/>
        </p:nvSpPr>
        <p:spPr>
          <a:xfrm>
            <a:off x="6435515" y="181794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3" name="Arc 22">
            <a:extLst>
              <a:ext uri="{FF2B5EF4-FFF2-40B4-BE49-F238E27FC236}">
                <a16:creationId xmlns:a16="http://schemas.microsoft.com/office/drawing/2014/main" id="{6E724543-4743-391D-133C-C13841B63EA8}"/>
              </a:ext>
            </a:extLst>
          </p:cNvPr>
          <p:cNvSpPr/>
          <p:nvPr userDrawn="1"/>
        </p:nvSpPr>
        <p:spPr>
          <a:xfrm>
            <a:off x="6435515" y="181794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A422CF18-5A3F-9CEA-0302-225E0F8673C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453693" y="2031953"/>
            <a:ext cx="1717475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Arc 24">
            <a:extLst>
              <a:ext uri="{FF2B5EF4-FFF2-40B4-BE49-F238E27FC236}">
                <a16:creationId xmlns:a16="http://schemas.microsoft.com/office/drawing/2014/main" id="{77D2335B-E767-A773-6A8A-16A2CC76473A}"/>
              </a:ext>
            </a:extLst>
          </p:cNvPr>
          <p:cNvSpPr/>
          <p:nvPr userDrawn="1"/>
        </p:nvSpPr>
        <p:spPr>
          <a:xfrm>
            <a:off x="9236986" y="1817949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6" name="Arc 25">
            <a:extLst>
              <a:ext uri="{FF2B5EF4-FFF2-40B4-BE49-F238E27FC236}">
                <a16:creationId xmlns:a16="http://schemas.microsoft.com/office/drawing/2014/main" id="{4232EF04-DFEA-B19B-2994-47F6D5F805CF}"/>
              </a:ext>
            </a:extLst>
          </p:cNvPr>
          <p:cNvSpPr/>
          <p:nvPr userDrawn="1"/>
        </p:nvSpPr>
        <p:spPr>
          <a:xfrm>
            <a:off x="9236986" y="1817949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0DCAA4F-9776-70FE-CFCB-65AFAAC3A1F7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6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993F3D21-E811-18C1-7DE0-F951D98F48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90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70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B938C31-136F-E3FB-281A-3A9C76D977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714" t="-355" r="-937" b="57158"/>
          <a:stretch/>
        </p:blipFill>
        <p:spPr>
          <a:xfrm>
            <a:off x="0" y="4386656"/>
            <a:ext cx="4704080" cy="247134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AE647DC-5977-5FDE-D0BC-58A33AB621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55263" r="11846"/>
          <a:stretch/>
        </p:blipFill>
        <p:spPr>
          <a:xfrm>
            <a:off x="7294880" y="1"/>
            <a:ext cx="4897120" cy="248525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59B427A-D01D-8479-F562-412923A6CD9A}"/>
              </a:ext>
            </a:extLst>
          </p:cNvPr>
          <p:cNvSpPr/>
          <p:nvPr userDrawn="1"/>
        </p:nvSpPr>
        <p:spPr>
          <a:xfrm>
            <a:off x="5339803" y="3536897"/>
            <a:ext cx="1512396" cy="73152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0472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9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1710B9BE-7A8C-BDD1-A5B9-BC375947024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965398" y="3813365"/>
            <a:ext cx="6261215" cy="429635"/>
          </a:xfrm>
        </p:spPr>
        <p:txBody>
          <a:bodyPr lIns="0" rIns="0">
            <a:normAutofit/>
          </a:bodyPr>
          <a:lstStyle>
            <a:lvl1pPr marL="0" indent="0" algn="ctr">
              <a:buNone/>
              <a:defRPr sz="200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C61348C-1DBF-8DC1-15B5-EA29ABE2458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271441" y="1798716"/>
            <a:ext cx="7649123" cy="1606653"/>
          </a:xfrm>
        </p:spPr>
        <p:txBody>
          <a:bodyPr lIns="0" rIns="0" anchor="b">
            <a:noAutofit/>
          </a:bodyPr>
          <a:lstStyle>
            <a:lvl1pPr algn="ctr">
              <a:defRPr sz="3600" b="1" spc="3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4EE7E04-48DB-0550-1A21-B329DCD64F4E}"/>
              </a:ext>
            </a:extLst>
          </p:cNvPr>
          <p:cNvSpPr txBox="1"/>
          <p:nvPr userDrawn="1"/>
        </p:nvSpPr>
        <p:spPr>
          <a:xfrm>
            <a:off x="9326875" y="6529058"/>
            <a:ext cx="232822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800" i="0">
                <a:solidFill>
                  <a:schemeClr val="bg2">
                    <a:lumMod val="50000"/>
                  </a:schemeClr>
                </a:solidFill>
              </a:rPr>
              <a:t>Confidential &amp; Proprietar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37FCD1-5C92-7416-05A6-7A1F91EA8937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6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2149625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B938C31-136F-E3FB-281A-3A9C76D977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714" t="-355" r="-937" b="57158"/>
          <a:stretch/>
        </p:blipFill>
        <p:spPr>
          <a:xfrm>
            <a:off x="0" y="4386656"/>
            <a:ext cx="4704080" cy="247134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AE647DC-5977-5FDE-D0BC-58A33AB621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55263" r="11846"/>
          <a:stretch/>
        </p:blipFill>
        <p:spPr>
          <a:xfrm>
            <a:off x="7294880" y="1"/>
            <a:ext cx="4897120" cy="2485259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1710B9BE-7A8C-BDD1-A5B9-BC375947024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19734" y="3342313"/>
            <a:ext cx="6261215" cy="429635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200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C61348C-1DBF-8DC1-15B5-EA29ABE2458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9733" y="1723159"/>
            <a:ext cx="7649123" cy="1606653"/>
          </a:xfrm>
        </p:spPr>
        <p:txBody>
          <a:bodyPr lIns="0" rIns="0" anchor="b">
            <a:noAutofit/>
          </a:bodyPr>
          <a:lstStyle>
            <a:lvl1pPr algn="l">
              <a:defRPr sz="3600" b="1" spc="3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4EE7E04-48DB-0550-1A21-B329DCD64F4E}"/>
              </a:ext>
            </a:extLst>
          </p:cNvPr>
          <p:cNvSpPr txBox="1"/>
          <p:nvPr userDrawn="1"/>
        </p:nvSpPr>
        <p:spPr>
          <a:xfrm>
            <a:off x="9326875" y="6529058"/>
            <a:ext cx="232822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800" i="0">
                <a:solidFill>
                  <a:schemeClr val="bg2">
                    <a:lumMod val="50000"/>
                  </a:schemeClr>
                </a:solidFill>
              </a:rPr>
              <a:t>Confidential &amp; Proprietar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37FCD1-5C92-7416-05A6-7A1F91EA8937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70926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4055644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764B6067-6702-4074-7FAB-A147E7E11249}"/>
              </a:ext>
            </a:extLst>
          </p:cNvPr>
          <p:cNvGrpSpPr/>
          <p:nvPr userDrawn="1"/>
        </p:nvGrpSpPr>
        <p:grpSpPr>
          <a:xfrm rot="10800000">
            <a:off x="12033" y="4830966"/>
            <a:ext cx="6921331" cy="6921331"/>
            <a:chOff x="105150" y="-3122465"/>
            <a:chExt cx="5720108" cy="5720108"/>
          </a:xfrm>
        </p:grpSpPr>
        <p:sp>
          <p:nvSpPr>
            <p:cNvPr id="4" name="Chord 3">
              <a:extLst>
                <a:ext uri="{FF2B5EF4-FFF2-40B4-BE49-F238E27FC236}">
                  <a16:creationId xmlns:a16="http://schemas.microsoft.com/office/drawing/2014/main" id="{85666469-221D-0EE9-55D1-C24978C0921D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7" name="Chord 6">
              <a:extLst>
                <a:ext uri="{FF2B5EF4-FFF2-40B4-BE49-F238E27FC236}">
                  <a16:creationId xmlns:a16="http://schemas.microsoft.com/office/drawing/2014/main" id="{D08426C2-4774-21FA-C178-C85FD5ECEB96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9" name="Chord 8">
              <a:extLst>
                <a:ext uri="{FF2B5EF4-FFF2-40B4-BE49-F238E27FC236}">
                  <a16:creationId xmlns:a16="http://schemas.microsoft.com/office/drawing/2014/main" id="{A00BA81F-098D-F1CB-5410-26823CEFEAA7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73D7F78-6E24-C853-88D7-82DDB031AFA6}"/>
              </a:ext>
            </a:extLst>
          </p:cNvPr>
          <p:cNvGrpSpPr/>
          <p:nvPr userDrawn="1"/>
        </p:nvGrpSpPr>
        <p:grpSpPr>
          <a:xfrm>
            <a:off x="6064163" y="-3899901"/>
            <a:ext cx="7613464" cy="7613464"/>
            <a:chOff x="105150" y="-3122465"/>
            <a:chExt cx="5720108" cy="5720108"/>
          </a:xfrm>
        </p:grpSpPr>
        <p:sp>
          <p:nvSpPr>
            <p:cNvPr id="13" name="Chord 12">
              <a:extLst>
                <a:ext uri="{FF2B5EF4-FFF2-40B4-BE49-F238E27FC236}">
                  <a16:creationId xmlns:a16="http://schemas.microsoft.com/office/drawing/2014/main" id="{91EB0702-921C-08D3-A185-DD69CB4ADE27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4" name="Chord 13">
              <a:extLst>
                <a:ext uri="{FF2B5EF4-FFF2-40B4-BE49-F238E27FC236}">
                  <a16:creationId xmlns:a16="http://schemas.microsoft.com/office/drawing/2014/main" id="{D8722D47-37FC-3CA2-8458-CC595801012A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5" name="Chord 14">
              <a:extLst>
                <a:ext uri="{FF2B5EF4-FFF2-40B4-BE49-F238E27FC236}">
                  <a16:creationId xmlns:a16="http://schemas.microsoft.com/office/drawing/2014/main" id="{F57013E6-1300-C68C-F61C-A5531DCA8E24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472C3C59-EACF-1047-1DBE-2DE26A38A3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146932" y="1479555"/>
            <a:ext cx="3948113" cy="3948113"/>
          </a:xfrm>
        </p:spPr>
        <p:txBody>
          <a:bodyPr lIns="274320" tIns="274320" rIns="274320" bIns="274320"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or drag and drop to add a photo here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86F1C63-E372-31AB-92A2-6ED61A32FFDF}"/>
              </a:ext>
            </a:extLst>
          </p:cNvPr>
          <p:cNvSpPr/>
          <p:nvPr userDrawn="1"/>
        </p:nvSpPr>
        <p:spPr>
          <a:xfrm>
            <a:off x="624263" y="3766983"/>
            <a:ext cx="1512396" cy="5486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0472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9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8" name="Picture 17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FA358863-BE81-3FE9-B582-FCF88EA161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400" y="1191703"/>
            <a:ext cx="2574333" cy="533048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011CC4DD-D589-D23D-C647-951BD405362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2211" y="2013036"/>
            <a:ext cx="6321588" cy="1606653"/>
          </a:xfrm>
        </p:spPr>
        <p:txBody>
          <a:bodyPr anchor="b">
            <a:noAutofit/>
          </a:bodyPr>
          <a:lstStyle>
            <a:lvl1pPr algn="l">
              <a:defRPr sz="3600" b="1" spc="3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Main Presentation Header Goes Here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7BFBEFDF-0120-C89B-8D76-E495E2DA5E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3379" y="4027685"/>
            <a:ext cx="6261215" cy="429635"/>
          </a:xfrm>
        </p:spPr>
        <p:txBody>
          <a:bodyPr>
            <a:normAutofit/>
          </a:bodyPr>
          <a:lstStyle>
            <a:lvl1pPr marL="0" indent="0" algn="l" defTabSz="91429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814955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</p15:sldGuideLst>
    </p:ext>
  </p:extLs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D924CC1-F0F8-D1AD-04A1-4510503087E6}"/>
              </a:ext>
            </a:extLst>
          </p:cNvPr>
          <p:cNvSpPr/>
          <p:nvPr userDrawn="1"/>
        </p:nvSpPr>
        <p:spPr>
          <a:xfrm>
            <a:off x="838201" y="5883550"/>
            <a:ext cx="3886955" cy="3259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731"/>
            <a:endParaRPr lang="en-US" sz="1497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BA901A1-E9A8-ECDA-E608-DA3D3651535A}"/>
              </a:ext>
            </a:extLst>
          </p:cNvPr>
          <p:cNvSpPr/>
          <p:nvPr userDrawn="1"/>
        </p:nvSpPr>
        <p:spPr>
          <a:xfrm>
            <a:off x="4845869" y="5883550"/>
            <a:ext cx="3886955" cy="32591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731"/>
            <a:endParaRPr lang="en-US" sz="1497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32CD196-5FDD-3D80-583C-57FA147DD869}"/>
              </a:ext>
            </a:extLst>
          </p:cNvPr>
          <p:cNvSpPr/>
          <p:nvPr userDrawn="1"/>
        </p:nvSpPr>
        <p:spPr>
          <a:xfrm>
            <a:off x="838201" y="3324399"/>
            <a:ext cx="3886955" cy="112322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731"/>
            <a:endParaRPr lang="en-US" sz="1497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93969F4-C52A-F89F-4D0D-27167DD41F3B}"/>
              </a:ext>
            </a:extLst>
          </p:cNvPr>
          <p:cNvSpPr/>
          <p:nvPr userDrawn="1"/>
        </p:nvSpPr>
        <p:spPr>
          <a:xfrm>
            <a:off x="838201" y="4561453"/>
            <a:ext cx="3886955" cy="748425"/>
          </a:xfrm>
          <a:prstGeom prst="rect">
            <a:avLst/>
          </a:prstGeom>
          <a:solidFill>
            <a:srgbClr val="E46A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731"/>
            <a:endParaRPr lang="en-US" sz="1497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FF6F24-4A00-1158-FF7D-D82B1DEEB4EF}"/>
              </a:ext>
            </a:extLst>
          </p:cNvPr>
          <p:cNvSpPr/>
          <p:nvPr userDrawn="1"/>
        </p:nvSpPr>
        <p:spPr>
          <a:xfrm>
            <a:off x="4845869" y="3323819"/>
            <a:ext cx="3886955" cy="1123224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731"/>
            <a:endParaRPr lang="en-US" sz="1497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1FC2B62-1518-FE22-1882-16BEF7E5FEEA}"/>
              </a:ext>
            </a:extLst>
          </p:cNvPr>
          <p:cNvSpPr/>
          <p:nvPr userDrawn="1"/>
        </p:nvSpPr>
        <p:spPr>
          <a:xfrm>
            <a:off x="4845869" y="4561453"/>
            <a:ext cx="3886955" cy="7484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731"/>
            <a:endParaRPr lang="en-US" sz="1497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394BBF2-E6FB-8C7D-EC72-1A773FDF398B}"/>
              </a:ext>
            </a:extLst>
          </p:cNvPr>
          <p:cNvSpPr txBox="1"/>
          <p:nvPr userDrawn="1"/>
        </p:nvSpPr>
        <p:spPr>
          <a:xfrm>
            <a:off x="838208" y="2913453"/>
            <a:ext cx="6204641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04731"/>
            <a:r>
              <a:rPr lang="en-US" sz="1867">
                <a:solidFill>
                  <a:srgbClr val="000000"/>
                </a:solidFill>
                <a:latin typeface="Century Gothic" panose="020F0302020204030204"/>
              </a:rPr>
              <a:t>Primary Color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B97F197-529C-D460-BB78-3A9C9E026BED}"/>
              </a:ext>
            </a:extLst>
          </p:cNvPr>
          <p:cNvSpPr txBox="1"/>
          <p:nvPr userDrawn="1"/>
        </p:nvSpPr>
        <p:spPr>
          <a:xfrm>
            <a:off x="838208" y="5462817"/>
            <a:ext cx="6204641" cy="37965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304731"/>
            <a:r>
              <a:rPr lang="en-US" sz="1867">
                <a:solidFill>
                  <a:srgbClr val="000000"/>
                </a:solidFill>
                <a:latin typeface="Century Gothic" panose="020F0302020204030204"/>
              </a:rPr>
              <a:t>Secondary Colors (use sparingly)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8282C96-2F16-5DB3-C31E-9C75ECDBD8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0" y="1812415"/>
            <a:ext cx="3369733" cy="94091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5D8FBF8-7EA5-657B-1B29-7D6E4560D9C2}"/>
              </a:ext>
            </a:extLst>
          </p:cNvPr>
          <p:cNvSpPr txBox="1"/>
          <p:nvPr userDrawn="1"/>
        </p:nvSpPr>
        <p:spPr>
          <a:xfrm>
            <a:off x="4845868" y="2036647"/>
            <a:ext cx="3657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04731"/>
            <a:r>
              <a:rPr lang="en-US" sz="2400">
                <a:solidFill>
                  <a:srgbClr val="000000"/>
                </a:solidFill>
                <a:latin typeface="Century Gothic" panose="020F0302020204030204"/>
              </a:rPr>
              <a:t>Font: Century Gothic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7353C23-F8A2-CB79-3CBB-6174B722C7C6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99854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A2501D1-66FB-AE34-BC94-4A65E8248E36}"/>
              </a:ext>
            </a:extLst>
          </p:cNvPr>
          <p:cNvSpPr txBox="1"/>
          <p:nvPr userDrawn="1"/>
        </p:nvSpPr>
        <p:spPr>
          <a:xfrm>
            <a:off x="408928" y="6505107"/>
            <a:ext cx="842539" cy="207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8556"/>
            <a:r>
              <a:rPr lang="en-US" sz="751" err="1">
                <a:solidFill>
                  <a:srgbClr val="000000">
                    <a:lumMod val="65000"/>
                    <a:lumOff val="3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icus.com</a:t>
            </a:r>
            <a:endParaRPr lang="en-US" sz="751">
              <a:solidFill>
                <a:srgbClr val="000000">
                  <a:lumMod val="65000"/>
                  <a:lumOff val="35000"/>
                </a:srgb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44B501B-2594-ABB2-5A25-CE23D81DC0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441" y="6483801"/>
            <a:ext cx="215763" cy="21576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D4CF73E-C040-D1D3-2A87-60A1C056B1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57422E6F-044F-D77D-BDC7-1429B00514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4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6DC0224-94BB-1BA0-CDAC-FA6A75F6CAD8}"/>
              </a:ext>
            </a:extLst>
          </p:cNvPr>
          <p:cNvCxnSpPr>
            <a:cxnSpLocks/>
          </p:cNvCxnSpPr>
          <p:nvPr userDrawn="1"/>
        </p:nvCxnSpPr>
        <p:spPr>
          <a:xfrm>
            <a:off x="5243083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62784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40">
          <p15:clr>
            <a:srgbClr val="FBAE40"/>
          </p15:clr>
        </p15:guide>
        <p15:guide id="2" pos="6827">
          <p15:clr>
            <a:srgbClr val="FBAE40"/>
          </p15:clr>
        </p15:guide>
      </p15:sldGuideLst>
    </p:ext>
  </p:extLs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D924CC1-F0F8-D1AD-04A1-4510503087E6}"/>
              </a:ext>
            </a:extLst>
          </p:cNvPr>
          <p:cNvSpPr/>
          <p:nvPr userDrawn="1"/>
        </p:nvSpPr>
        <p:spPr>
          <a:xfrm>
            <a:off x="838201" y="5883550"/>
            <a:ext cx="3886955" cy="3259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731"/>
            <a:endParaRPr lang="en-US" sz="1497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BA901A1-E9A8-ECDA-E608-DA3D3651535A}"/>
              </a:ext>
            </a:extLst>
          </p:cNvPr>
          <p:cNvSpPr/>
          <p:nvPr userDrawn="1"/>
        </p:nvSpPr>
        <p:spPr>
          <a:xfrm>
            <a:off x="4845869" y="5883550"/>
            <a:ext cx="3886955" cy="32591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731"/>
            <a:endParaRPr lang="en-US" sz="1497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32CD196-5FDD-3D80-583C-57FA147DD869}"/>
              </a:ext>
            </a:extLst>
          </p:cNvPr>
          <p:cNvSpPr/>
          <p:nvPr userDrawn="1"/>
        </p:nvSpPr>
        <p:spPr>
          <a:xfrm>
            <a:off x="838201" y="3324399"/>
            <a:ext cx="3886955" cy="112322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731"/>
            <a:endParaRPr lang="en-US" sz="1497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93969F4-C52A-F89F-4D0D-27167DD41F3B}"/>
              </a:ext>
            </a:extLst>
          </p:cNvPr>
          <p:cNvSpPr/>
          <p:nvPr userDrawn="1"/>
        </p:nvSpPr>
        <p:spPr>
          <a:xfrm>
            <a:off x="838201" y="4561453"/>
            <a:ext cx="3886955" cy="748425"/>
          </a:xfrm>
          <a:prstGeom prst="rect">
            <a:avLst/>
          </a:prstGeom>
          <a:solidFill>
            <a:srgbClr val="E46A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731"/>
            <a:endParaRPr lang="en-US" sz="1497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FF6F24-4A00-1158-FF7D-D82B1DEEB4EF}"/>
              </a:ext>
            </a:extLst>
          </p:cNvPr>
          <p:cNvSpPr/>
          <p:nvPr userDrawn="1"/>
        </p:nvSpPr>
        <p:spPr>
          <a:xfrm>
            <a:off x="4845869" y="3323819"/>
            <a:ext cx="3886955" cy="1123224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731"/>
            <a:endParaRPr lang="en-US" sz="1497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1FC2B62-1518-FE22-1882-16BEF7E5FEEA}"/>
              </a:ext>
            </a:extLst>
          </p:cNvPr>
          <p:cNvSpPr/>
          <p:nvPr userDrawn="1"/>
        </p:nvSpPr>
        <p:spPr>
          <a:xfrm>
            <a:off x="4845869" y="4561453"/>
            <a:ext cx="3886955" cy="7484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731"/>
            <a:endParaRPr lang="en-US" sz="1497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394BBF2-E6FB-8C7D-EC72-1A773FDF398B}"/>
              </a:ext>
            </a:extLst>
          </p:cNvPr>
          <p:cNvSpPr txBox="1"/>
          <p:nvPr userDrawn="1"/>
        </p:nvSpPr>
        <p:spPr>
          <a:xfrm>
            <a:off x="838208" y="2913452"/>
            <a:ext cx="6204641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04731"/>
            <a:r>
              <a:rPr lang="en-US" sz="1867">
                <a:solidFill>
                  <a:srgbClr val="000000"/>
                </a:solidFill>
                <a:latin typeface="Century Gothic" panose="020F0302020204030204"/>
              </a:rPr>
              <a:t>Primary Color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B97F197-529C-D460-BB78-3A9C9E026BED}"/>
              </a:ext>
            </a:extLst>
          </p:cNvPr>
          <p:cNvSpPr txBox="1"/>
          <p:nvPr userDrawn="1"/>
        </p:nvSpPr>
        <p:spPr>
          <a:xfrm>
            <a:off x="838208" y="5462816"/>
            <a:ext cx="6204641" cy="37965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304731"/>
            <a:r>
              <a:rPr lang="en-US" sz="1867">
                <a:solidFill>
                  <a:srgbClr val="000000"/>
                </a:solidFill>
                <a:latin typeface="Century Gothic" panose="020F0302020204030204"/>
              </a:rPr>
              <a:t>Secondary Colors (use sparingly)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8282C96-2F16-5DB3-C31E-9C75ECDBD8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0" y="1812415"/>
            <a:ext cx="3369733" cy="94091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5D8FBF8-7EA5-657B-1B29-7D6E4560D9C2}"/>
              </a:ext>
            </a:extLst>
          </p:cNvPr>
          <p:cNvSpPr txBox="1"/>
          <p:nvPr userDrawn="1"/>
        </p:nvSpPr>
        <p:spPr>
          <a:xfrm>
            <a:off x="4845868" y="2036647"/>
            <a:ext cx="3657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04731"/>
            <a:r>
              <a:rPr lang="en-US" sz="2400">
                <a:solidFill>
                  <a:srgbClr val="000000"/>
                </a:solidFill>
                <a:latin typeface="Century Gothic" panose="020F0302020204030204"/>
              </a:rPr>
              <a:t>Font: Century Gothic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7353C23-F8A2-CB79-3CBB-6174B722C7C6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99854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A2501D1-66FB-AE34-BC94-4A65E8248E36}"/>
              </a:ext>
            </a:extLst>
          </p:cNvPr>
          <p:cNvSpPr txBox="1"/>
          <p:nvPr userDrawn="1"/>
        </p:nvSpPr>
        <p:spPr>
          <a:xfrm>
            <a:off x="408927" y="6505108"/>
            <a:ext cx="785793" cy="2078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28556"/>
            <a:r>
              <a:rPr lang="en-US" sz="751" err="1">
                <a:solidFill>
                  <a:srgbClr val="000000">
                    <a:lumMod val="65000"/>
                    <a:lumOff val="3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icus.com</a:t>
            </a:r>
            <a:endParaRPr lang="en-US" sz="751">
              <a:solidFill>
                <a:srgbClr val="000000">
                  <a:lumMod val="65000"/>
                  <a:lumOff val="35000"/>
                </a:srgb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44B501B-2594-ABB2-5A25-CE23D81DC0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441" y="6483801"/>
            <a:ext cx="215763" cy="21576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D4CF73E-C040-D1D3-2A87-60A1C056B1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57422E6F-044F-D77D-BDC7-1429B00514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4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6DC0224-94BB-1BA0-CDAC-FA6A75F6CAD8}"/>
              </a:ext>
            </a:extLst>
          </p:cNvPr>
          <p:cNvCxnSpPr>
            <a:cxnSpLocks/>
          </p:cNvCxnSpPr>
          <p:nvPr userDrawn="1"/>
        </p:nvCxnSpPr>
        <p:spPr>
          <a:xfrm>
            <a:off x="5243083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7423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0">
            <a:extLst>
              <a:ext uri="{FF2B5EF4-FFF2-40B4-BE49-F238E27FC236}">
                <a16:creationId xmlns:a16="http://schemas.microsoft.com/office/drawing/2014/main" id="{810BDFDA-EE48-88A2-8966-9DFA17417D2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495967" y="2552009"/>
            <a:ext cx="2670148" cy="267854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B8ADFF3-CB7C-2340-DA65-45BD32B7DA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577" y="2552746"/>
            <a:ext cx="4207483" cy="2543175"/>
          </a:xfrm>
        </p:spPr>
        <p:txBody>
          <a:bodyPr lIns="0" rIns="0" anchor="ctr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  <a:lvl2pPr marL="6351" indent="0">
              <a:buNone/>
              <a:tabLst/>
              <a:defRPr sz="2000">
                <a:solidFill>
                  <a:schemeClr val="accent1"/>
                </a:solidFill>
              </a:defRPr>
            </a:lvl2pPr>
            <a:lvl3pPr marL="6351" indent="0">
              <a:buNone/>
              <a:tabLst/>
              <a:defRPr sz="160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Name</a:t>
            </a:r>
          </a:p>
          <a:p>
            <a:pPr lvl="1"/>
            <a:r>
              <a:rPr lang="en-US"/>
              <a:t>Organization</a:t>
            </a:r>
          </a:p>
          <a:p>
            <a:pPr lvl="2"/>
            <a:r>
              <a:rPr lang="en-US"/>
              <a:t>Tit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8E4E9A05-DAB8-9D59-7FD4-F1C889769EB6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64869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A238F23-507B-3BE1-5E58-529BC1F72C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366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EAD71DD9-030F-E9A0-75F8-AB1F6A89D4D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5366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AB1BA26-4469-BF4D-786E-A6CFC7DD30D6}"/>
              </a:ext>
            </a:extLst>
          </p:cNvPr>
          <p:cNvCxnSpPr>
            <a:cxnSpLocks/>
          </p:cNvCxnSpPr>
          <p:nvPr userDrawn="1"/>
        </p:nvCxnSpPr>
        <p:spPr>
          <a:xfrm>
            <a:off x="5258844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9" name="Picture 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E86F2C37-AE58-3FA2-FBDD-FCB6505B09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14844"/>
            <a:ext cx="1323511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997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A9E98145-3076-AAFD-4ECF-446ADBDE02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029"/>
            <a:ext cx="10515600" cy="1325563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Branding </a:t>
            </a:r>
            <a:r>
              <a:rPr lang="en-US" b="0">
                <a:solidFill>
                  <a:schemeClr val="tx2"/>
                </a:solidFill>
              </a:rPr>
              <a:t>Guideline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4F371B7-BCEF-C8B3-1119-2D7639C13B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481" y="3305109"/>
            <a:ext cx="2943435" cy="60992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D093B14-3B49-ACC3-6CC9-53603C71517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5" y="4172543"/>
            <a:ext cx="3274087" cy="74548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9E2AB9ED-00DF-B83D-0A9C-D7C262A968CD}"/>
              </a:ext>
            </a:extLst>
          </p:cNvPr>
          <p:cNvSpPr txBox="1"/>
          <p:nvPr userDrawn="1"/>
        </p:nvSpPr>
        <p:spPr>
          <a:xfrm>
            <a:off x="838205" y="2284186"/>
            <a:ext cx="327408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l" defTabSz="2285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emplate Logo</a:t>
            </a:r>
          </a:p>
        </p:txBody>
      </p:sp>
    </p:spTree>
    <p:extLst>
      <p:ext uri="{BB962C8B-B14F-4D97-AF65-F5344CB8AC3E}">
        <p14:creationId xmlns:p14="http://schemas.microsoft.com/office/powerpoint/2010/main" val="2863800031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F81F94F7-3542-1421-11FF-7E97E3E4A800}"/>
              </a:ext>
            </a:extLst>
          </p:cNvPr>
          <p:cNvGrpSpPr/>
          <p:nvPr userDrawn="1"/>
        </p:nvGrpSpPr>
        <p:grpSpPr>
          <a:xfrm rot="16200000">
            <a:off x="-3927262" y="662867"/>
            <a:ext cx="5720108" cy="5720108"/>
            <a:chOff x="105150" y="-3122465"/>
            <a:chExt cx="5720108" cy="5720108"/>
          </a:xfrm>
        </p:grpSpPr>
        <p:sp>
          <p:nvSpPr>
            <p:cNvPr id="3" name="Chord 2">
              <a:extLst>
                <a:ext uri="{FF2B5EF4-FFF2-40B4-BE49-F238E27FC236}">
                  <a16:creationId xmlns:a16="http://schemas.microsoft.com/office/drawing/2014/main" id="{684D3A4E-C346-0EC6-7CFC-A9071123569B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215574"/>
                <a:gd name="adj2" fmla="val 9610099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4" name="Chord 3">
              <a:extLst>
                <a:ext uri="{FF2B5EF4-FFF2-40B4-BE49-F238E27FC236}">
                  <a16:creationId xmlns:a16="http://schemas.microsoft.com/office/drawing/2014/main" id="{993B4201-EBFE-4641-5859-36A22E3CE52C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503614"/>
                <a:gd name="adj2" fmla="val 9282250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5" name="Chord 4">
              <a:extLst>
                <a:ext uri="{FF2B5EF4-FFF2-40B4-BE49-F238E27FC236}">
                  <a16:creationId xmlns:a16="http://schemas.microsoft.com/office/drawing/2014/main" id="{1FD5BDC9-00CC-7A9C-229E-8DD8319FE3DD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82273"/>
                <a:gd name="adj2" fmla="val 8808404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6" name="Title 3">
            <a:extLst>
              <a:ext uri="{FF2B5EF4-FFF2-40B4-BE49-F238E27FC236}">
                <a16:creationId xmlns:a16="http://schemas.microsoft.com/office/drawing/2014/main" id="{A916CB59-52B3-E821-73F9-02AA0845F8E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6316" y="344489"/>
            <a:ext cx="6045200" cy="704851"/>
          </a:xfrm>
        </p:spPr>
        <p:txBody>
          <a:bodyPr>
            <a:noAutofit/>
          </a:bodyPr>
          <a:lstStyle/>
          <a:p>
            <a:r>
              <a:rPr lang="en-US" sz="3600">
                <a:solidFill>
                  <a:schemeClr val="accent2"/>
                </a:solidFill>
              </a:rPr>
              <a:t>Click to edit Master title style</a:t>
            </a:r>
          </a:p>
        </p:txBody>
      </p:sp>
      <p:sp>
        <p:nvSpPr>
          <p:cNvPr id="7" name="Subtitle 4">
            <a:extLst>
              <a:ext uri="{FF2B5EF4-FFF2-40B4-BE49-F238E27FC236}">
                <a16:creationId xmlns:a16="http://schemas.microsoft.com/office/drawing/2014/main" id="{772D0056-1D1F-72E2-40C2-81CB6C38FC83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446316" y="1017591"/>
            <a:ext cx="6729413" cy="430212"/>
          </a:xfrm>
        </p:spPr>
        <p:txBody>
          <a:bodyPr>
            <a:normAutofit lnSpcReduction="10000"/>
          </a:bodyPr>
          <a:lstStyle>
            <a:lvl1pPr marL="0" indent="0">
              <a:buNone/>
              <a:defRPr/>
            </a:lvl1pPr>
          </a:lstStyle>
          <a:p>
            <a:pPr marL="0" indent="0">
              <a:buNone/>
            </a:pPr>
            <a:r>
              <a:rPr kumimoji="0" lang="en-US" sz="1900" b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lick to edit Master subtitle style</a:t>
            </a: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97CEB46-0495-4952-6282-ECA7559A0F3B}"/>
              </a:ext>
            </a:extLst>
          </p:cNvPr>
          <p:cNvSpPr txBox="1"/>
          <p:nvPr userDrawn="1"/>
        </p:nvSpPr>
        <p:spPr>
          <a:xfrm>
            <a:off x="393559" y="6205840"/>
            <a:ext cx="610564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400" b="1" i="0">
                <a:solidFill>
                  <a:srgbClr val="353535"/>
                </a:solidFill>
                <a:effectLst/>
                <a:latin typeface="+mj-lt"/>
              </a:rPr>
              <a:t>Granicus Solution: </a:t>
            </a:r>
            <a:r>
              <a:rPr lang="en-US" sz="1400" i="0">
                <a:solidFill>
                  <a:srgbClr val="353535"/>
                </a:solidFill>
                <a:effectLst/>
                <a:latin typeface="+mj-lt"/>
              </a:rPr>
              <a:t>solution/s goes here</a:t>
            </a:r>
            <a:endParaRPr lang="en-US" sz="1200" i="0">
              <a:solidFill>
                <a:srgbClr val="353535"/>
              </a:solidFill>
              <a:effectLst/>
              <a:latin typeface="+mj-lt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C130AB-F9EB-3B51-3E6C-29A7DD9DEB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8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8930" r="24638"/>
          <a:stretch/>
        </p:blipFill>
        <p:spPr>
          <a:xfrm>
            <a:off x="7775958" y="0"/>
            <a:ext cx="4416044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DB45046-BFE6-FEDD-06B3-344691DE1A7F}"/>
              </a:ext>
            </a:extLst>
          </p:cNvPr>
          <p:cNvSpPr/>
          <p:nvPr userDrawn="1"/>
        </p:nvSpPr>
        <p:spPr>
          <a:xfrm>
            <a:off x="7750414" y="0"/>
            <a:ext cx="4441591" cy="6858000"/>
          </a:xfrm>
          <a:prstGeom prst="rect">
            <a:avLst/>
          </a:prstGeom>
          <a:solidFill>
            <a:schemeClr val="bg1">
              <a:alpha val="87897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DEAD822-AF84-BEDE-B85A-29B4A7E40A25}"/>
              </a:ext>
            </a:extLst>
          </p:cNvPr>
          <p:cNvGrpSpPr/>
          <p:nvPr userDrawn="1"/>
        </p:nvGrpSpPr>
        <p:grpSpPr>
          <a:xfrm>
            <a:off x="6087189" y="1839189"/>
            <a:ext cx="3377531" cy="3377531"/>
            <a:chOff x="5740954" y="1397670"/>
            <a:chExt cx="4062661" cy="4062661"/>
          </a:xfrm>
        </p:grpSpPr>
        <p:sp>
          <p:nvSpPr>
            <p:cNvPr id="12" name="Chord 11">
              <a:extLst>
                <a:ext uri="{FF2B5EF4-FFF2-40B4-BE49-F238E27FC236}">
                  <a16:creationId xmlns:a16="http://schemas.microsoft.com/office/drawing/2014/main" id="{2BEF99E2-3C8F-BB0D-9E5C-AB85C7EFE795}"/>
                </a:ext>
              </a:extLst>
            </p:cNvPr>
            <p:cNvSpPr/>
            <p:nvPr/>
          </p:nvSpPr>
          <p:spPr>
            <a:xfrm>
              <a:off x="5740954" y="1397670"/>
              <a:ext cx="4062661" cy="4062661"/>
            </a:xfrm>
            <a:prstGeom prst="chord">
              <a:avLst>
                <a:gd name="adj1" fmla="val 5380442"/>
                <a:gd name="adj2" fmla="val 16200000"/>
              </a:avLst>
            </a:prstGeom>
            <a:solidFill>
              <a:schemeClr val="accent5">
                <a:alpha val="72482"/>
              </a:schemeClr>
            </a:solidFill>
            <a:ln w="38100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607D6C4F-2C46-34EB-7B69-92F8D9060F6E}"/>
                </a:ext>
              </a:extLst>
            </p:cNvPr>
            <p:cNvSpPr/>
            <p:nvPr/>
          </p:nvSpPr>
          <p:spPr>
            <a:xfrm>
              <a:off x="6082000" y="1738716"/>
              <a:ext cx="3380568" cy="338056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4" name="Picture Placeholder 10">
              <a:extLst>
                <a:ext uri="{FF2B5EF4-FFF2-40B4-BE49-F238E27FC236}">
                  <a16:creationId xmlns:a16="http://schemas.microsoft.com/office/drawing/2014/main" id="{2A88D3B8-42CC-77DE-85DA-62028FE257DC}"/>
                </a:ext>
              </a:extLst>
            </p:cNvPr>
            <p:cNvSpPr txBox="1">
              <a:spLocks/>
            </p:cNvSpPr>
            <p:nvPr/>
          </p:nvSpPr>
          <p:spPr>
            <a:xfrm>
              <a:off x="6326378" y="1978547"/>
              <a:ext cx="2891812" cy="2900906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5875"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400"/>
                <a:t>Click icon to add picture</a:t>
              </a:r>
            </a:p>
          </p:txBody>
        </p:sp>
        <p:pic>
          <p:nvPicPr>
            <p:cNvPr id="15" name="Picture Placeholder 8">
              <a:extLst>
                <a:ext uri="{FF2B5EF4-FFF2-40B4-BE49-F238E27FC236}">
                  <a16:creationId xmlns:a16="http://schemas.microsoft.com/office/drawing/2014/main" id="{9E1DC380-BD14-7EBB-1ACE-466FDFAE829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581" r="29581"/>
            <a:stretch/>
          </p:blipFill>
          <p:spPr>
            <a:xfrm>
              <a:off x="6420212" y="2072475"/>
              <a:ext cx="2704144" cy="2713050"/>
            </a:xfrm>
            <a:prstGeom prst="ellipse">
              <a:avLst/>
            </a:prstGeom>
            <a:ln>
              <a:noFill/>
            </a:ln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70C2D6A-AE5F-E8D4-B804-0F9DA1BF8355}"/>
              </a:ext>
            </a:extLst>
          </p:cNvPr>
          <p:cNvGrpSpPr/>
          <p:nvPr userDrawn="1"/>
        </p:nvGrpSpPr>
        <p:grpSpPr>
          <a:xfrm>
            <a:off x="314372" y="1917194"/>
            <a:ext cx="4663600" cy="553999"/>
            <a:chOff x="596757" y="2666627"/>
            <a:chExt cx="4663600" cy="553994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C6513C6-F9C5-59B0-D54F-9521C456907E}"/>
                </a:ext>
              </a:extLst>
            </p:cNvPr>
            <p:cNvSpPr txBox="1"/>
            <p:nvPr/>
          </p:nvSpPr>
          <p:spPr>
            <a:xfrm>
              <a:off x="596757" y="2666627"/>
              <a:ext cx="1094505" cy="5539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000" i="0" u="none" strike="noStrike" kern="120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XX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3FA93B5-E5F6-DBD7-FBAC-2773478BAA07}"/>
                </a:ext>
              </a:extLst>
            </p:cNvPr>
            <p:cNvSpPr txBox="1"/>
            <p:nvPr/>
          </p:nvSpPr>
          <p:spPr>
            <a:xfrm>
              <a:off x="1768810" y="2782383"/>
              <a:ext cx="3491547" cy="338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Stat 1 here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0D9D3B4-DAEC-BEC6-31EB-39406373F400}"/>
              </a:ext>
            </a:extLst>
          </p:cNvPr>
          <p:cNvGrpSpPr/>
          <p:nvPr userDrawn="1"/>
        </p:nvGrpSpPr>
        <p:grpSpPr>
          <a:xfrm>
            <a:off x="325948" y="2973963"/>
            <a:ext cx="4577125" cy="553999"/>
            <a:chOff x="608332" y="3646037"/>
            <a:chExt cx="4577125" cy="553994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EEAFFCA2-ECDE-A6D4-1540-6B7D2E66B72E}"/>
                </a:ext>
              </a:extLst>
            </p:cNvPr>
            <p:cNvSpPr txBox="1"/>
            <p:nvPr/>
          </p:nvSpPr>
          <p:spPr>
            <a:xfrm>
              <a:off x="608332" y="3646037"/>
              <a:ext cx="1082931" cy="5539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000" i="0" u="none" strike="noStrike" kern="120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XX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F2BAE9E-6475-F9AF-7B8D-FCED2577F53D}"/>
                </a:ext>
              </a:extLst>
            </p:cNvPr>
            <p:cNvSpPr txBox="1"/>
            <p:nvPr/>
          </p:nvSpPr>
          <p:spPr>
            <a:xfrm>
              <a:off x="1768811" y="3735416"/>
              <a:ext cx="3416646" cy="3593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30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Stat 2 here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803D432-5C03-0BA6-0185-519A26946395}"/>
              </a:ext>
            </a:extLst>
          </p:cNvPr>
          <p:cNvGrpSpPr/>
          <p:nvPr userDrawn="1"/>
        </p:nvGrpSpPr>
        <p:grpSpPr>
          <a:xfrm>
            <a:off x="302797" y="4065776"/>
            <a:ext cx="4600275" cy="553999"/>
            <a:chOff x="585182" y="4587587"/>
            <a:chExt cx="4600274" cy="553994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E41789E0-0C0C-A3CC-ABE9-84C36440F153}"/>
                </a:ext>
              </a:extLst>
            </p:cNvPr>
            <p:cNvSpPr txBox="1"/>
            <p:nvPr/>
          </p:nvSpPr>
          <p:spPr>
            <a:xfrm>
              <a:off x="585182" y="4587587"/>
              <a:ext cx="1106080" cy="5539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000" i="0" u="none" strike="noStrike" kern="120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XX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5B88253-68B8-60B2-135E-2F299E88C55C}"/>
                </a:ext>
              </a:extLst>
            </p:cNvPr>
            <p:cNvSpPr txBox="1"/>
            <p:nvPr/>
          </p:nvSpPr>
          <p:spPr>
            <a:xfrm>
              <a:off x="1768810" y="4704527"/>
              <a:ext cx="3416646" cy="3593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30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Stat 3 here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3B73505-A917-6D2D-3B11-C3C892989B35}"/>
              </a:ext>
            </a:extLst>
          </p:cNvPr>
          <p:cNvGrpSpPr/>
          <p:nvPr userDrawn="1"/>
        </p:nvGrpSpPr>
        <p:grpSpPr>
          <a:xfrm>
            <a:off x="198630" y="5157587"/>
            <a:ext cx="4704447" cy="553999"/>
            <a:chOff x="481010" y="5401457"/>
            <a:chExt cx="4704446" cy="553994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9ACCE68C-1366-9B01-DAAD-F027166EF207}"/>
                </a:ext>
              </a:extLst>
            </p:cNvPr>
            <p:cNvSpPr txBox="1"/>
            <p:nvPr/>
          </p:nvSpPr>
          <p:spPr>
            <a:xfrm>
              <a:off x="481010" y="5401457"/>
              <a:ext cx="1210252" cy="5539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000" i="0" u="none" strike="noStrike" kern="120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XX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82BF152-7EA3-670F-0435-F46F5AA85904}"/>
                </a:ext>
              </a:extLst>
            </p:cNvPr>
            <p:cNvSpPr txBox="1"/>
            <p:nvPr/>
          </p:nvSpPr>
          <p:spPr>
            <a:xfrm>
              <a:off x="1768810" y="5505185"/>
              <a:ext cx="3416646" cy="3593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30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Stat 4 here</a:t>
              </a:r>
            </a:p>
          </p:txBody>
        </p:sp>
      </p:grp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FC6F10A-BC6B-BAAF-E15E-9E8AA62C729A}"/>
              </a:ext>
            </a:extLst>
          </p:cNvPr>
          <p:cNvCxnSpPr/>
          <p:nvPr userDrawn="1"/>
        </p:nvCxnSpPr>
        <p:spPr>
          <a:xfrm>
            <a:off x="516269" y="2720439"/>
            <a:ext cx="438680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1C7491D-442F-9F55-3E6E-A392F8E127D4}"/>
              </a:ext>
            </a:extLst>
          </p:cNvPr>
          <p:cNvCxnSpPr/>
          <p:nvPr userDrawn="1"/>
        </p:nvCxnSpPr>
        <p:spPr>
          <a:xfrm>
            <a:off x="516269" y="3812245"/>
            <a:ext cx="438680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AD0362A-54FC-4C99-C3AF-6ADB3F53E4AA}"/>
              </a:ext>
            </a:extLst>
          </p:cNvPr>
          <p:cNvCxnSpPr/>
          <p:nvPr userDrawn="1"/>
        </p:nvCxnSpPr>
        <p:spPr>
          <a:xfrm>
            <a:off x="516269" y="4904052"/>
            <a:ext cx="438680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BAEAA98C-50FB-4792-BBB6-81E5E1F07DB1}"/>
              </a:ext>
            </a:extLst>
          </p:cNvPr>
          <p:cNvSpPr txBox="1"/>
          <p:nvPr userDrawn="1"/>
        </p:nvSpPr>
        <p:spPr>
          <a:xfrm>
            <a:off x="9418711" y="741486"/>
            <a:ext cx="2460263" cy="11231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900" i="1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entury Gothic"/>
              </a:rPr>
              <a:t>“Success Story quote goes here.” </a:t>
            </a:r>
          </a:p>
          <a:p>
            <a:pPr>
              <a:lnSpc>
                <a:spcPct val="120000"/>
              </a:lnSpc>
              <a:spcBef>
                <a:spcPts val="1200"/>
              </a:spcBef>
            </a:pPr>
            <a:r>
              <a:rPr lang="en-US" sz="1400">
                <a:solidFill>
                  <a:schemeClr val="tx1">
                    <a:lumMod val="85000"/>
                    <a:lumOff val="15000"/>
                  </a:schemeClr>
                </a:solidFill>
                <a:effectLst/>
              </a:rPr>
              <a:t>Attribute Name, titl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C149080-894D-8B37-22C8-9F6867BA4129}"/>
              </a:ext>
            </a:extLst>
          </p:cNvPr>
          <p:cNvSpPr/>
          <p:nvPr userDrawn="1"/>
        </p:nvSpPr>
        <p:spPr>
          <a:xfrm>
            <a:off x="7104729" y="3191151"/>
            <a:ext cx="1316919" cy="6635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18CAA42-3D4B-791A-ED3A-D01729DDCE8A}"/>
              </a:ext>
            </a:extLst>
          </p:cNvPr>
          <p:cNvSpPr txBox="1"/>
          <p:nvPr userDrawn="1"/>
        </p:nvSpPr>
        <p:spPr>
          <a:xfrm>
            <a:off x="7163430" y="3191151"/>
            <a:ext cx="12582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/>
              <a:t>Update image, and Logo on top</a:t>
            </a:r>
          </a:p>
        </p:txBody>
      </p:sp>
    </p:spTree>
    <p:extLst>
      <p:ext uri="{BB962C8B-B14F-4D97-AF65-F5344CB8AC3E}">
        <p14:creationId xmlns:p14="http://schemas.microsoft.com/office/powerpoint/2010/main" val="1813069895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F81F94F7-3542-1421-11FF-7E97E3E4A800}"/>
              </a:ext>
            </a:extLst>
          </p:cNvPr>
          <p:cNvGrpSpPr/>
          <p:nvPr userDrawn="1"/>
        </p:nvGrpSpPr>
        <p:grpSpPr>
          <a:xfrm rot="16200000">
            <a:off x="-3927262" y="662867"/>
            <a:ext cx="5720108" cy="5720108"/>
            <a:chOff x="105150" y="-3122465"/>
            <a:chExt cx="5720108" cy="5720108"/>
          </a:xfrm>
        </p:grpSpPr>
        <p:sp>
          <p:nvSpPr>
            <p:cNvPr id="3" name="Chord 2">
              <a:extLst>
                <a:ext uri="{FF2B5EF4-FFF2-40B4-BE49-F238E27FC236}">
                  <a16:creationId xmlns:a16="http://schemas.microsoft.com/office/drawing/2014/main" id="{684D3A4E-C346-0EC6-7CFC-A9071123569B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215574"/>
                <a:gd name="adj2" fmla="val 9610099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4" name="Chord 3">
              <a:extLst>
                <a:ext uri="{FF2B5EF4-FFF2-40B4-BE49-F238E27FC236}">
                  <a16:creationId xmlns:a16="http://schemas.microsoft.com/office/drawing/2014/main" id="{993B4201-EBFE-4641-5859-36A22E3CE52C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503614"/>
                <a:gd name="adj2" fmla="val 9282250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5" name="Chord 4">
              <a:extLst>
                <a:ext uri="{FF2B5EF4-FFF2-40B4-BE49-F238E27FC236}">
                  <a16:creationId xmlns:a16="http://schemas.microsoft.com/office/drawing/2014/main" id="{1FD5BDC9-00CC-7A9C-229E-8DD8319FE3DD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82273"/>
                <a:gd name="adj2" fmla="val 8808404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6" name="Title 3">
            <a:extLst>
              <a:ext uri="{FF2B5EF4-FFF2-40B4-BE49-F238E27FC236}">
                <a16:creationId xmlns:a16="http://schemas.microsoft.com/office/drawing/2014/main" id="{A916CB59-52B3-E821-73F9-02AA0845F8E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6316" y="344489"/>
            <a:ext cx="6045200" cy="704851"/>
          </a:xfrm>
        </p:spPr>
        <p:txBody>
          <a:bodyPr>
            <a:normAutofit/>
          </a:bodyPr>
          <a:lstStyle/>
          <a:p>
            <a:r>
              <a:rPr lang="en-US" sz="3600">
                <a:solidFill>
                  <a:schemeClr val="accent2"/>
                </a:solidFill>
              </a:rPr>
              <a:t>Click to edit Master title style</a:t>
            </a:r>
          </a:p>
        </p:txBody>
      </p:sp>
      <p:sp>
        <p:nvSpPr>
          <p:cNvPr id="7" name="Subtitle 4">
            <a:extLst>
              <a:ext uri="{FF2B5EF4-FFF2-40B4-BE49-F238E27FC236}">
                <a16:creationId xmlns:a16="http://schemas.microsoft.com/office/drawing/2014/main" id="{772D0056-1D1F-72E2-40C2-81CB6C38FC83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446316" y="1017591"/>
            <a:ext cx="6729413" cy="430212"/>
          </a:xfrm>
        </p:spPr>
        <p:txBody>
          <a:bodyPr>
            <a:normAutofit lnSpcReduction="10000"/>
          </a:bodyPr>
          <a:lstStyle>
            <a:lvl1pPr marL="0" indent="0">
              <a:buNone/>
              <a:defRPr/>
            </a:lvl1pPr>
          </a:lstStyle>
          <a:p>
            <a:pPr marL="0" indent="0">
              <a:buNone/>
            </a:pPr>
            <a:r>
              <a:rPr kumimoji="0" lang="en-US" sz="1900" b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lick to edit Master subtitle style</a:t>
            </a: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97CEB46-0495-4952-6282-ECA7559A0F3B}"/>
              </a:ext>
            </a:extLst>
          </p:cNvPr>
          <p:cNvSpPr txBox="1"/>
          <p:nvPr userDrawn="1"/>
        </p:nvSpPr>
        <p:spPr>
          <a:xfrm>
            <a:off x="393559" y="6205841"/>
            <a:ext cx="610564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400" b="1" i="0">
                <a:solidFill>
                  <a:srgbClr val="353535"/>
                </a:solidFill>
                <a:effectLst/>
                <a:latin typeface="+mj-lt"/>
              </a:rPr>
              <a:t>Granicus Solution: </a:t>
            </a:r>
            <a:r>
              <a:rPr lang="en-US" sz="1400" i="0">
                <a:solidFill>
                  <a:srgbClr val="353535"/>
                </a:solidFill>
                <a:effectLst/>
                <a:latin typeface="+mj-lt"/>
              </a:rPr>
              <a:t>solution/s goes here</a:t>
            </a:r>
            <a:endParaRPr lang="en-US" sz="1200" i="0">
              <a:solidFill>
                <a:srgbClr val="353535"/>
              </a:solidFill>
              <a:effectLst/>
              <a:latin typeface="+mj-lt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C130AB-F9EB-3B51-3E6C-29A7DD9DEB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8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8930" r="24638"/>
          <a:stretch/>
        </p:blipFill>
        <p:spPr>
          <a:xfrm>
            <a:off x="7775958" y="0"/>
            <a:ext cx="4416044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DB45046-BFE6-FEDD-06B3-344691DE1A7F}"/>
              </a:ext>
            </a:extLst>
          </p:cNvPr>
          <p:cNvSpPr/>
          <p:nvPr userDrawn="1"/>
        </p:nvSpPr>
        <p:spPr>
          <a:xfrm>
            <a:off x="7750414" y="0"/>
            <a:ext cx="4441591" cy="6858000"/>
          </a:xfrm>
          <a:prstGeom prst="rect">
            <a:avLst/>
          </a:prstGeom>
          <a:solidFill>
            <a:schemeClr val="bg1">
              <a:alpha val="87897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DEAD822-AF84-BEDE-B85A-29B4A7E40A25}"/>
              </a:ext>
            </a:extLst>
          </p:cNvPr>
          <p:cNvGrpSpPr/>
          <p:nvPr userDrawn="1"/>
        </p:nvGrpSpPr>
        <p:grpSpPr>
          <a:xfrm>
            <a:off x="6087189" y="1839189"/>
            <a:ext cx="3377531" cy="3377531"/>
            <a:chOff x="5740954" y="1397670"/>
            <a:chExt cx="4062661" cy="4062661"/>
          </a:xfrm>
        </p:grpSpPr>
        <p:sp>
          <p:nvSpPr>
            <p:cNvPr id="12" name="Chord 11">
              <a:extLst>
                <a:ext uri="{FF2B5EF4-FFF2-40B4-BE49-F238E27FC236}">
                  <a16:creationId xmlns:a16="http://schemas.microsoft.com/office/drawing/2014/main" id="{2BEF99E2-3C8F-BB0D-9E5C-AB85C7EFE795}"/>
                </a:ext>
              </a:extLst>
            </p:cNvPr>
            <p:cNvSpPr/>
            <p:nvPr/>
          </p:nvSpPr>
          <p:spPr>
            <a:xfrm>
              <a:off x="5740954" y="1397670"/>
              <a:ext cx="4062661" cy="4062661"/>
            </a:xfrm>
            <a:prstGeom prst="chord">
              <a:avLst>
                <a:gd name="adj1" fmla="val 5380442"/>
                <a:gd name="adj2" fmla="val 16200000"/>
              </a:avLst>
            </a:prstGeom>
            <a:solidFill>
              <a:schemeClr val="accent5">
                <a:alpha val="72482"/>
              </a:schemeClr>
            </a:solidFill>
            <a:ln w="38100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607D6C4F-2C46-34EB-7B69-92F8D9060F6E}"/>
                </a:ext>
              </a:extLst>
            </p:cNvPr>
            <p:cNvSpPr/>
            <p:nvPr/>
          </p:nvSpPr>
          <p:spPr>
            <a:xfrm>
              <a:off x="6082000" y="1738716"/>
              <a:ext cx="3380568" cy="338056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4" name="Picture Placeholder 10">
              <a:extLst>
                <a:ext uri="{FF2B5EF4-FFF2-40B4-BE49-F238E27FC236}">
                  <a16:creationId xmlns:a16="http://schemas.microsoft.com/office/drawing/2014/main" id="{2A88D3B8-42CC-77DE-85DA-62028FE257DC}"/>
                </a:ext>
              </a:extLst>
            </p:cNvPr>
            <p:cNvSpPr txBox="1">
              <a:spLocks/>
            </p:cNvSpPr>
            <p:nvPr/>
          </p:nvSpPr>
          <p:spPr>
            <a:xfrm>
              <a:off x="6326378" y="1978547"/>
              <a:ext cx="2891812" cy="2900906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5875"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anchor="ctr">
              <a:norm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400"/>
                <a:t>Click icon to add picture</a:t>
              </a:r>
            </a:p>
          </p:txBody>
        </p:sp>
        <p:pic>
          <p:nvPicPr>
            <p:cNvPr id="15" name="Picture Placeholder 8">
              <a:extLst>
                <a:ext uri="{FF2B5EF4-FFF2-40B4-BE49-F238E27FC236}">
                  <a16:creationId xmlns:a16="http://schemas.microsoft.com/office/drawing/2014/main" id="{9E1DC380-BD14-7EBB-1ACE-466FDFAE829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581" r="29581"/>
            <a:stretch/>
          </p:blipFill>
          <p:spPr>
            <a:xfrm>
              <a:off x="6420212" y="2072475"/>
              <a:ext cx="2704144" cy="2713050"/>
            </a:xfrm>
            <a:prstGeom prst="ellipse">
              <a:avLst/>
            </a:prstGeom>
            <a:ln>
              <a:noFill/>
            </a:ln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70C2D6A-AE5F-E8D4-B804-0F9DA1BF8355}"/>
              </a:ext>
            </a:extLst>
          </p:cNvPr>
          <p:cNvGrpSpPr/>
          <p:nvPr userDrawn="1"/>
        </p:nvGrpSpPr>
        <p:grpSpPr>
          <a:xfrm>
            <a:off x="314372" y="1917194"/>
            <a:ext cx="4663600" cy="553999"/>
            <a:chOff x="596757" y="2666627"/>
            <a:chExt cx="4663600" cy="553994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C6513C6-F9C5-59B0-D54F-9521C456907E}"/>
                </a:ext>
              </a:extLst>
            </p:cNvPr>
            <p:cNvSpPr txBox="1"/>
            <p:nvPr/>
          </p:nvSpPr>
          <p:spPr>
            <a:xfrm>
              <a:off x="596757" y="2666627"/>
              <a:ext cx="1094505" cy="5539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000" i="0" u="none" strike="noStrike" kern="120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XX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3FA93B5-E5F6-DBD7-FBAC-2773478BAA07}"/>
                </a:ext>
              </a:extLst>
            </p:cNvPr>
            <p:cNvSpPr txBox="1"/>
            <p:nvPr/>
          </p:nvSpPr>
          <p:spPr>
            <a:xfrm>
              <a:off x="1768810" y="2782383"/>
              <a:ext cx="3491547" cy="338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Stat 1 here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0D9D3B4-DAEC-BEC6-31EB-39406373F400}"/>
              </a:ext>
            </a:extLst>
          </p:cNvPr>
          <p:cNvGrpSpPr/>
          <p:nvPr userDrawn="1"/>
        </p:nvGrpSpPr>
        <p:grpSpPr>
          <a:xfrm>
            <a:off x="325948" y="2973964"/>
            <a:ext cx="4577125" cy="553999"/>
            <a:chOff x="608332" y="3646037"/>
            <a:chExt cx="4577125" cy="553994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EEAFFCA2-ECDE-A6D4-1540-6B7D2E66B72E}"/>
                </a:ext>
              </a:extLst>
            </p:cNvPr>
            <p:cNvSpPr txBox="1"/>
            <p:nvPr/>
          </p:nvSpPr>
          <p:spPr>
            <a:xfrm>
              <a:off x="608332" y="3646037"/>
              <a:ext cx="1082931" cy="5539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000" i="0" u="none" strike="noStrike" kern="120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XX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F2BAE9E-6475-F9AF-7B8D-FCED2577F53D}"/>
                </a:ext>
              </a:extLst>
            </p:cNvPr>
            <p:cNvSpPr txBox="1"/>
            <p:nvPr/>
          </p:nvSpPr>
          <p:spPr>
            <a:xfrm>
              <a:off x="1768811" y="3735416"/>
              <a:ext cx="3416646" cy="3593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30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Stat 2 here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803D432-5C03-0BA6-0185-519A26946395}"/>
              </a:ext>
            </a:extLst>
          </p:cNvPr>
          <p:cNvGrpSpPr/>
          <p:nvPr userDrawn="1"/>
        </p:nvGrpSpPr>
        <p:grpSpPr>
          <a:xfrm>
            <a:off x="302797" y="4065776"/>
            <a:ext cx="4600275" cy="553999"/>
            <a:chOff x="585182" y="4587587"/>
            <a:chExt cx="4600274" cy="553994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E41789E0-0C0C-A3CC-ABE9-84C36440F153}"/>
                </a:ext>
              </a:extLst>
            </p:cNvPr>
            <p:cNvSpPr txBox="1"/>
            <p:nvPr/>
          </p:nvSpPr>
          <p:spPr>
            <a:xfrm>
              <a:off x="585182" y="4587587"/>
              <a:ext cx="1106080" cy="5539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000" i="0" u="none" strike="noStrike" kern="120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XX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5B88253-68B8-60B2-135E-2F299E88C55C}"/>
                </a:ext>
              </a:extLst>
            </p:cNvPr>
            <p:cNvSpPr txBox="1"/>
            <p:nvPr/>
          </p:nvSpPr>
          <p:spPr>
            <a:xfrm>
              <a:off x="1768810" y="4704527"/>
              <a:ext cx="3416646" cy="3593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30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Stat 3 here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3B73505-A917-6D2D-3B11-C3C892989B35}"/>
              </a:ext>
            </a:extLst>
          </p:cNvPr>
          <p:cNvGrpSpPr/>
          <p:nvPr userDrawn="1"/>
        </p:nvGrpSpPr>
        <p:grpSpPr>
          <a:xfrm>
            <a:off x="198630" y="5157587"/>
            <a:ext cx="4704447" cy="553999"/>
            <a:chOff x="481010" y="5401457"/>
            <a:chExt cx="4704446" cy="553994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9ACCE68C-1366-9B01-DAAD-F027166EF207}"/>
                </a:ext>
              </a:extLst>
            </p:cNvPr>
            <p:cNvSpPr txBox="1"/>
            <p:nvPr/>
          </p:nvSpPr>
          <p:spPr>
            <a:xfrm>
              <a:off x="481010" y="5401457"/>
              <a:ext cx="1210252" cy="5539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000" i="0" u="none" strike="noStrike" kern="120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XX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82BF152-7EA3-670F-0435-F46F5AA85904}"/>
                </a:ext>
              </a:extLst>
            </p:cNvPr>
            <p:cNvSpPr txBox="1"/>
            <p:nvPr/>
          </p:nvSpPr>
          <p:spPr>
            <a:xfrm>
              <a:off x="1768810" y="5505185"/>
              <a:ext cx="3416646" cy="3593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30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Stat 4 here</a:t>
              </a:r>
            </a:p>
          </p:txBody>
        </p:sp>
      </p:grp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FC6F10A-BC6B-BAAF-E15E-9E8AA62C729A}"/>
              </a:ext>
            </a:extLst>
          </p:cNvPr>
          <p:cNvCxnSpPr/>
          <p:nvPr userDrawn="1"/>
        </p:nvCxnSpPr>
        <p:spPr>
          <a:xfrm>
            <a:off x="516269" y="2720439"/>
            <a:ext cx="438680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1C7491D-442F-9F55-3E6E-A392F8E127D4}"/>
              </a:ext>
            </a:extLst>
          </p:cNvPr>
          <p:cNvCxnSpPr/>
          <p:nvPr userDrawn="1"/>
        </p:nvCxnSpPr>
        <p:spPr>
          <a:xfrm>
            <a:off x="516269" y="3812245"/>
            <a:ext cx="438680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AD0362A-54FC-4C99-C3AF-6ADB3F53E4AA}"/>
              </a:ext>
            </a:extLst>
          </p:cNvPr>
          <p:cNvCxnSpPr/>
          <p:nvPr userDrawn="1"/>
        </p:nvCxnSpPr>
        <p:spPr>
          <a:xfrm>
            <a:off x="516269" y="4904052"/>
            <a:ext cx="438680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BAEAA98C-50FB-4792-BBB6-81E5E1F07DB1}"/>
              </a:ext>
            </a:extLst>
          </p:cNvPr>
          <p:cNvSpPr txBox="1"/>
          <p:nvPr userDrawn="1"/>
        </p:nvSpPr>
        <p:spPr>
          <a:xfrm>
            <a:off x="9418711" y="741487"/>
            <a:ext cx="2460263" cy="11231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900" i="1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entury Gothic"/>
              </a:rPr>
              <a:t>“Success Story quote goes here.” </a:t>
            </a:r>
          </a:p>
          <a:p>
            <a:pPr>
              <a:lnSpc>
                <a:spcPct val="120000"/>
              </a:lnSpc>
              <a:spcBef>
                <a:spcPts val="1200"/>
              </a:spcBef>
            </a:pPr>
            <a:r>
              <a:rPr lang="en-US" sz="1400">
                <a:solidFill>
                  <a:schemeClr val="tx1">
                    <a:lumMod val="85000"/>
                    <a:lumOff val="15000"/>
                  </a:schemeClr>
                </a:solidFill>
                <a:effectLst/>
              </a:rPr>
              <a:t>Attribute Name, titl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C149080-894D-8B37-22C8-9F6867BA4129}"/>
              </a:ext>
            </a:extLst>
          </p:cNvPr>
          <p:cNvSpPr/>
          <p:nvPr userDrawn="1"/>
        </p:nvSpPr>
        <p:spPr>
          <a:xfrm>
            <a:off x="7104729" y="3191151"/>
            <a:ext cx="1316919" cy="6635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18CAA42-3D4B-791A-ED3A-D01729DDCE8A}"/>
              </a:ext>
            </a:extLst>
          </p:cNvPr>
          <p:cNvSpPr txBox="1"/>
          <p:nvPr userDrawn="1"/>
        </p:nvSpPr>
        <p:spPr>
          <a:xfrm>
            <a:off x="7163430" y="3191151"/>
            <a:ext cx="12582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/>
              <a:t>Update image, and Logo on top</a:t>
            </a:r>
          </a:p>
        </p:txBody>
      </p:sp>
    </p:spTree>
    <p:extLst>
      <p:ext uri="{BB962C8B-B14F-4D97-AF65-F5344CB8AC3E}">
        <p14:creationId xmlns:p14="http://schemas.microsoft.com/office/powerpoint/2010/main" val="3225638682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50AB8BE2-3203-B29A-6549-F4662A7362DE}"/>
              </a:ext>
            </a:extLst>
          </p:cNvPr>
          <p:cNvGrpSpPr/>
          <p:nvPr userDrawn="1"/>
        </p:nvGrpSpPr>
        <p:grpSpPr>
          <a:xfrm>
            <a:off x="7392511" y="-3678194"/>
            <a:ext cx="5720108" cy="5720108"/>
            <a:chOff x="105150" y="-3122465"/>
            <a:chExt cx="5720108" cy="5720108"/>
          </a:xfrm>
        </p:grpSpPr>
        <p:sp>
          <p:nvSpPr>
            <p:cNvPr id="30" name="Chord 29">
              <a:extLst>
                <a:ext uri="{FF2B5EF4-FFF2-40B4-BE49-F238E27FC236}">
                  <a16:creationId xmlns:a16="http://schemas.microsoft.com/office/drawing/2014/main" id="{1A9E727C-B5A7-DDC4-5F65-307DD1BC2ACA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972540"/>
                <a:gd name="adj2" fmla="val 988089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1" name="Chord 30">
              <a:extLst>
                <a:ext uri="{FF2B5EF4-FFF2-40B4-BE49-F238E27FC236}">
                  <a16:creationId xmlns:a16="http://schemas.microsoft.com/office/drawing/2014/main" id="{D831F826-05DC-A9B0-1C1D-BEE636C2AB32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171149"/>
                <a:gd name="adj2" fmla="val 959543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2" name="Chord 31">
              <a:extLst>
                <a:ext uri="{FF2B5EF4-FFF2-40B4-BE49-F238E27FC236}">
                  <a16:creationId xmlns:a16="http://schemas.microsoft.com/office/drawing/2014/main" id="{4EF2C1D6-D255-62B4-D41F-19567F524BA0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517033"/>
                <a:gd name="adj2" fmla="val 9345714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E1A43A9-A101-1699-F9ED-D93E9BCFA3AA}"/>
              </a:ext>
            </a:extLst>
          </p:cNvPr>
          <p:cNvGrpSpPr/>
          <p:nvPr userDrawn="1"/>
        </p:nvGrpSpPr>
        <p:grpSpPr>
          <a:xfrm rot="10800000">
            <a:off x="-989286" y="5065531"/>
            <a:ext cx="5720108" cy="5720108"/>
            <a:chOff x="105150" y="-3122465"/>
            <a:chExt cx="5720108" cy="5720108"/>
          </a:xfrm>
        </p:grpSpPr>
        <p:sp>
          <p:nvSpPr>
            <p:cNvPr id="26" name="Chord 25">
              <a:extLst>
                <a:ext uri="{FF2B5EF4-FFF2-40B4-BE49-F238E27FC236}">
                  <a16:creationId xmlns:a16="http://schemas.microsoft.com/office/drawing/2014/main" id="{789F3800-E40C-8693-B5C5-16EDBA3B954E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215574"/>
                <a:gd name="adj2" fmla="val 9610099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7" name="Chord 26">
              <a:extLst>
                <a:ext uri="{FF2B5EF4-FFF2-40B4-BE49-F238E27FC236}">
                  <a16:creationId xmlns:a16="http://schemas.microsoft.com/office/drawing/2014/main" id="{13C2E123-3187-2B89-C07D-A1B2E77F3893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503614"/>
                <a:gd name="adj2" fmla="val 9282250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8" name="Chord 27">
              <a:extLst>
                <a:ext uri="{FF2B5EF4-FFF2-40B4-BE49-F238E27FC236}">
                  <a16:creationId xmlns:a16="http://schemas.microsoft.com/office/drawing/2014/main" id="{016E9895-16D1-6E83-FA72-F2BF6E083EC4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82273"/>
                <a:gd name="adj2" fmla="val 8808404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B5E0138-3A7C-947A-1805-6A974EDC98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  <a:prstGeom prst="rect">
            <a:avLst/>
          </a:prstGeo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slide title – no foot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F3D3896-21F7-E606-32AE-78C80324F0E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4"/>
            <a:ext cx="10972800" cy="40011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6CCFDFF-0D99-CD81-3E40-E7EA1D9C0266}"/>
              </a:ext>
            </a:extLst>
          </p:cNvPr>
          <p:cNvCxnSpPr>
            <a:cxnSpLocks/>
          </p:cNvCxnSpPr>
          <p:nvPr userDrawn="1"/>
        </p:nvCxnSpPr>
        <p:spPr>
          <a:xfrm>
            <a:off x="5243082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7" name="Picture 6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461E5462-CAE6-6F8B-448E-56422B61FEE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52153" y="6537008"/>
            <a:ext cx="753859" cy="156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410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827">
          <p15:clr>
            <a:srgbClr val="FBAE40"/>
          </p15:clr>
        </p15:guide>
      </p15:sldGuideLst>
    </p:ext>
  </p:extLs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2B406E-49D4-4042-B360-7083D5E4FC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-649829"/>
            <a:ext cx="10972800" cy="566309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nter unique title of slide for accessibil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BB167B-71A0-4735-93B6-5A034F89F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1412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9844BFA-A0A1-39CE-559E-70C834AFDE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62000"/>
          </a:blip>
          <a:srcRect l="18714" t="-355" r="-937" b="57158"/>
          <a:stretch/>
        </p:blipFill>
        <p:spPr>
          <a:xfrm>
            <a:off x="0" y="4386656"/>
            <a:ext cx="4704080" cy="247134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2C417C3-3A8B-C8B9-2DE4-2E2272B8FF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67000"/>
          </a:blip>
          <a:srcRect t="55263" r="11846"/>
          <a:stretch/>
        </p:blipFill>
        <p:spPr>
          <a:xfrm>
            <a:off x="7294880" y="1"/>
            <a:ext cx="4897120" cy="2485259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AD8A8E5D-18FC-A8F7-66EB-5F491D6E17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87"/>
            <a:ext cx="10972800" cy="1046440"/>
          </a:xfrm>
        </p:spPr>
        <p:txBody>
          <a:bodyPr wrap="square" anchor="b">
            <a:spAutoFit/>
          </a:bodyPr>
          <a:lstStyle>
            <a:lvl1pPr algn="ctr">
              <a:defRPr sz="3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he slide title – try to keep titles brief and one one line if possib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2D9917C9-AB5A-A4D6-23D2-75677F77BA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1329889"/>
            <a:ext cx="10972800" cy="400110"/>
          </a:xfrm>
        </p:spPr>
        <p:txBody>
          <a:bodyPr wrap="square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98D662-88FE-516B-7290-B301466CF50C}"/>
              </a:ext>
            </a:extLst>
          </p:cNvPr>
          <p:cNvSpPr txBox="1">
            <a:spLocks/>
          </p:cNvSpPr>
          <p:nvPr userDrawn="1"/>
        </p:nvSpPr>
        <p:spPr>
          <a:xfrm>
            <a:off x="11517619" y="6499853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C28233B-55CC-6D73-7FF9-4A451201EB80}"/>
              </a:ext>
            </a:extLst>
          </p:cNvPr>
          <p:cNvSpPr txBox="1"/>
          <p:nvPr userDrawn="1"/>
        </p:nvSpPr>
        <p:spPr>
          <a:xfrm>
            <a:off x="408928" y="6505104"/>
            <a:ext cx="842539" cy="207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8561"/>
            <a:r>
              <a:rPr lang="en-US" sz="751" err="1">
                <a:solidFill>
                  <a:srgbClr val="000000">
                    <a:lumMod val="65000"/>
                    <a:lumOff val="3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icus.com</a:t>
            </a:r>
            <a:endParaRPr lang="en-US" sz="751">
              <a:solidFill>
                <a:srgbClr val="000000">
                  <a:lumMod val="65000"/>
                  <a:lumOff val="35000"/>
                </a:srgb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1E428F-C172-72DD-8790-53BB80E0E41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441" y="6483801"/>
            <a:ext cx="215763" cy="215763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E73E281-64C7-A65E-ADEB-5451DA866B70}"/>
              </a:ext>
            </a:extLst>
          </p:cNvPr>
          <p:cNvCxnSpPr>
            <a:cxnSpLocks/>
          </p:cNvCxnSpPr>
          <p:nvPr userDrawn="1"/>
        </p:nvCxnSpPr>
        <p:spPr>
          <a:xfrm>
            <a:off x="4084857" y="1158465"/>
            <a:ext cx="4022295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1348048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87680" y="253999"/>
            <a:ext cx="11216640" cy="48182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200" b="1" spc="133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87680" y="798920"/>
            <a:ext cx="11216640" cy="377753"/>
          </a:xfrm>
        </p:spPr>
        <p:txBody>
          <a:bodyPr anchor="t">
            <a:noAutofit/>
          </a:bodyPr>
          <a:lstStyle>
            <a:lvl1pPr marL="0" marR="0" indent="0" algn="l" defTabSz="91430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133" spc="133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Put Your Great Subtitle Here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344677" y="6462977"/>
            <a:ext cx="635291" cy="244883"/>
          </a:xfrm>
          <a:prstGeom prst="rect">
            <a:avLst/>
          </a:prstGeom>
        </p:spPr>
        <p:txBody>
          <a:bodyPr vert="horz" lIns="60960" tIns="30480" rIns="60960" bIns="3048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7A186AE-F4AD-4FA7-9F32-F8C5D3D896FE}" type="slidenum">
              <a:rPr lang="en-US" sz="1400" b="1" smtClean="0">
                <a:latin typeface="+mj-lt"/>
              </a:rPr>
              <a:pPr algn="r"/>
              <a:t>‹#›</a:t>
            </a:fld>
            <a:endParaRPr lang="en-US" sz="1400" b="1">
              <a:latin typeface="+mj-lt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544077" y="6461079"/>
            <a:ext cx="9797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00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icus.com</a:t>
            </a:r>
            <a:endParaRPr lang="en-US" sz="100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093" y="6432673"/>
            <a:ext cx="287683" cy="287683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487680" y="1551709"/>
            <a:ext cx="11216640" cy="4772891"/>
          </a:xfrm>
        </p:spPr>
        <p:txBody>
          <a:bodyPr/>
          <a:lstStyle>
            <a:lvl1pPr marL="0" indent="0">
              <a:spcAft>
                <a:spcPts val="800"/>
              </a:spcAft>
              <a:buNone/>
              <a:defRPr sz="2400"/>
            </a:lvl1pPr>
            <a:lvl2pPr marL="380962" indent="-228578">
              <a:spcAft>
                <a:spcPts val="800"/>
              </a:spcAft>
              <a:defRPr sz="1867"/>
            </a:lvl2pPr>
            <a:lvl3pPr marL="685734" indent="-228578">
              <a:spcAft>
                <a:spcPts val="800"/>
              </a:spcAft>
              <a:defRPr sz="1600"/>
            </a:lvl3pPr>
            <a:lvl4pPr marL="1066693" indent="-228578">
              <a:spcAft>
                <a:spcPts val="800"/>
              </a:spcAft>
              <a:defRPr sz="1467"/>
            </a:lvl4pPr>
            <a:lvl5pPr marL="1447656" indent="-228578">
              <a:spcAft>
                <a:spcPts val="800"/>
              </a:spcAft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4335180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o &amp; Projec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3"/>
          <p:cNvSpPr>
            <a:spLocks noGrp="1"/>
          </p:cNvSpPr>
          <p:nvPr>
            <p:ph type="pic" sz="quarter" idx="21" hasCustomPrompt="1"/>
          </p:nvPr>
        </p:nvSpPr>
        <p:spPr>
          <a:xfrm>
            <a:off x="544076" y="1552025"/>
            <a:ext cx="3729075" cy="4651485"/>
          </a:xfrm>
          <a:prstGeom prst="roundRect">
            <a:avLst>
              <a:gd name="adj" fmla="val 0"/>
            </a:avLst>
          </a:prstGeom>
        </p:spPr>
        <p:txBody>
          <a:bodyPr anchor="ctr">
            <a:normAutofit/>
          </a:bodyPr>
          <a:lstStyle>
            <a:lvl1pPr marL="0" marR="0" indent="0" algn="ctr" defTabSz="91436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Drag and drop image he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4397564" y="1552026"/>
            <a:ext cx="4681048" cy="2214033"/>
          </a:xfrm>
          <a:prstGeom prst="roundRect">
            <a:avLst>
              <a:gd name="adj" fmla="val 0"/>
            </a:avLst>
          </a:prstGeom>
        </p:spPr>
        <p:txBody>
          <a:bodyPr anchor="ctr">
            <a:normAutofit/>
          </a:bodyPr>
          <a:lstStyle>
            <a:lvl1pPr marL="0" marR="0" indent="0" algn="ctr" defTabSz="91436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Drag and drop image here</a:t>
            </a:r>
          </a:p>
          <a:p>
            <a:endParaRPr lang="en-US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3" hasCustomPrompt="1"/>
          </p:nvPr>
        </p:nvSpPr>
        <p:spPr>
          <a:xfrm>
            <a:off x="9203026" y="1552026"/>
            <a:ext cx="2210041" cy="2214033"/>
          </a:xfrm>
          <a:prstGeom prst="roundRect">
            <a:avLst>
              <a:gd name="adj" fmla="val 0"/>
            </a:avLst>
          </a:prstGeom>
        </p:spPr>
        <p:txBody>
          <a:bodyPr anchor="ctr">
            <a:normAutofit/>
          </a:bodyPr>
          <a:lstStyle>
            <a:lvl1pPr marL="0" marR="0" indent="0" algn="ctr" defTabSz="91436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Drag and drop image here</a:t>
            </a:r>
          </a:p>
          <a:p>
            <a:endParaRPr lang="en-US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4" hasCustomPrompt="1"/>
          </p:nvPr>
        </p:nvSpPr>
        <p:spPr>
          <a:xfrm>
            <a:off x="4397567" y="3877770"/>
            <a:ext cx="2449804" cy="2325743"/>
          </a:xfrm>
          <a:prstGeom prst="roundRect">
            <a:avLst>
              <a:gd name="adj" fmla="val 0"/>
            </a:avLst>
          </a:prstGeom>
        </p:spPr>
        <p:txBody>
          <a:bodyPr anchor="ctr">
            <a:normAutofit/>
          </a:bodyPr>
          <a:lstStyle>
            <a:lvl1pPr marL="0" marR="0" indent="0" algn="ctr" defTabSz="91436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Drag and drop image here</a:t>
            </a:r>
          </a:p>
          <a:p>
            <a:endParaRPr lang="en-US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5" hasCustomPrompt="1"/>
          </p:nvPr>
        </p:nvSpPr>
        <p:spPr>
          <a:xfrm>
            <a:off x="6971784" y="3877767"/>
            <a:ext cx="4441283" cy="2325743"/>
          </a:xfrm>
          <a:prstGeom prst="roundRect">
            <a:avLst>
              <a:gd name="adj" fmla="val 0"/>
            </a:avLst>
          </a:prstGeom>
        </p:spPr>
        <p:txBody>
          <a:bodyPr anchor="ctr">
            <a:normAutofit/>
          </a:bodyPr>
          <a:lstStyle>
            <a:lvl1pPr marL="0" marR="0" indent="0" algn="ctr" defTabSz="91436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Drag and drop image here</a:t>
            </a:r>
          </a:p>
          <a:p>
            <a:endParaRPr lang="en-US"/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14012" y="254002"/>
            <a:ext cx="11110921" cy="48182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200" b="1" spc="133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052" y="798918"/>
            <a:ext cx="9850881" cy="377753"/>
          </a:xfrm>
        </p:spPr>
        <p:txBody>
          <a:bodyPr anchor="t">
            <a:noAutofit/>
          </a:bodyPr>
          <a:lstStyle>
            <a:lvl1pPr marL="0" marR="0" indent="0" algn="l" defTabSz="91436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spc="133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Put Your Great Subtitle Here</a:t>
            </a: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344677" y="6462977"/>
            <a:ext cx="635291" cy="244883"/>
          </a:xfrm>
          <a:prstGeom prst="rect">
            <a:avLst/>
          </a:prstGeom>
        </p:spPr>
        <p:txBody>
          <a:bodyPr vert="horz" lIns="60960" tIns="30480" rIns="60960" bIns="3048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7A186AE-F4AD-4FA7-9F32-F8C5D3D896FE}" type="slidenum">
              <a:rPr lang="en-US" sz="1400" b="1" smtClean="0">
                <a:latin typeface="+mj-lt"/>
              </a:rPr>
              <a:pPr algn="r"/>
              <a:t>‹#›</a:t>
            </a:fld>
            <a:endParaRPr lang="en-US" sz="1400" b="1">
              <a:latin typeface="+mj-lt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544078" y="6461078"/>
            <a:ext cx="97975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00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icus.com</a:t>
            </a:r>
            <a:endParaRPr lang="en-US" sz="100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093" y="6432673"/>
            <a:ext cx="287683" cy="287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916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marR="0" indent="0" algn="ctr" defTabSz="91436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Drag and drop image here</a:t>
            </a:r>
          </a:p>
        </p:txBody>
      </p:sp>
    </p:spTree>
    <p:extLst>
      <p:ext uri="{BB962C8B-B14F-4D97-AF65-F5344CB8AC3E}">
        <p14:creationId xmlns:p14="http://schemas.microsoft.com/office/powerpoint/2010/main" val="1253363409"/>
      </p:ext>
    </p:extLst>
  </p:cSld>
  <p:clrMapOvr>
    <a:masterClrMapping/>
  </p:clrMapOvr>
  <p:transition spd="slow">
    <p:wipe/>
  </p:transition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-212035" y="-1765904"/>
            <a:ext cx="12404035" cy="5124965"/>
            <a:chOff x="0" y="8787280"/>
            <a:chExt cx="46816963" cy="19680105"/>
          </a:xfrm>
        </p:grpSpPr>
        <p:sp>
          <p:nvSpPr>
            <p:cNvPr id="7" name="Freeform 9"/>
            <p:cNvSpPr>
              <a:spLocks/>
            </p:cNvSpPr>
            <p:nvPr/>
          </p:nvSpPr>
          <p:spPr bwMode="auto">
            <a:xfrm>
              <a:off x="0" y="8787280"/>
              <a:ext cx="46816963" cy="19680105"/>
            </a:xfrm>
            <a:custGeom>
              <a:avLst/>
              <a:gdLst>
                <a:gd name="T0" fmla="*/ 0 w 3200"/>
                <a:gd name="T1" fmla="*/ 866 h 1341"/>
                <a:gd name="T2" fmla="*/ 0 w 3200"/>
                <a:gd name="T3" fmla="*/ 901 h 1341"/>
                <a:gd name="T4" fmla="*/ 3200 w 3200"/>
                <a:gd name="T5" fmla="*/ 1043 h 1341"/>
                <a:gd name="T6" fmla="*/ 3200 w 3200"/>
                <a:gd name="T7" fmla="*/ 785 h 1341"/>
                <a:gd name="T8" fmla="*/ 0 w 3200"/>
                <a:gd name="T9" fmla="*/ 866 h 1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00" h="1341">
                  <a:moveTo>
                    <a:pt x="0" y="866"/>
                  </a:moveTo>
                  <a:cubicBezTo>
                    <a:pt x="0" y="901"/>
                    <a:pt x="0" y="901"/>
                    <a:pt x="0" y="901"/>
                  </a:cubicBezTo>
                  <a:cubicBezTo>
                    <a:pt x="1318" y="262"/>
                    <a:pt x="2332" y="1341"/>
                    <a:pt x="3200" y="1043"/>
                  </a:cubicBezTo>
                  <a:cubicBezTo>
                    <a:pt x="3200" y="785"/>
                    <a:pt x="3200" y="785"/>
                    <a:pt x="3200" y="785"/>
                  </a:cubicBezTo>
                  <a:cubicBezTo>
                    <a:pt x="2332" y="1084"/>
                    <a:pt x="1106" y="0"/>
                    <a:pt x="0" y="866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9"/>
            </a:p>
          </p:txBody>
        </p:sp>
        <p:sp>
          <p:nvSpPr>
            <p:cNvPr id="8" name="Freeform 13"/>
            <p:cNvSpPr>
              <a:spLocks/>
            </p:cNvSpPr>
            <p:nvPr/>
          </p:nvSpPr>
          <p:spPr bwMode="auto">
            <a:xfrm>
              <a:off x="18066281" y="15584557"/>
              <a:ext cx="28034062" cy="6921158"/>
            </a:xfrm>
            <a:custGeom>
              <a:avLst/>
              <a:gdLst>
                <a:gd name="T0" fmla="*/ 0 w 1250"/>
                <a:gd name="T1" fmla="*/ 24 h 305"/>
                <a:gd name="T2" fmla="*/ 1250 w 1250"/>
                <a:gd name="T3" fmla="*/ 186 h 305"/>
                <a:gd name="T4" fmla="*/ 0 w 1250"/>
                <a:gd name="T5" fmla="*/ 24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50" h="305">
                  <a:moveTo>
                    <a:pt x="0" y="24"/>
                  </a:moveTo>
                  <a:cubicBezTo>
                    <a:pt x="389" y="21"/>
                    <a:pt x="900" y="305"/>
                    <a:pt x="1250" y="186"/>
                  </a:cubicBezTo>
                  <a:cubicBezTo>
                    <a:pt x="856" y="265"/>
                    <a:pt x="425" y="0"/>
                    <a:pt x="0" y="24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9"/>
            </a:p>
          </p:txBody>
        </p:sp>
      </p:grpSp>
      <p:sp>
        <p:nvSpPr>
          <p:cNvPr id="20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14012" y="254002"/>
            <a:ext cx="11110921" cy="48182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200" b="1" spc="133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052" y="798918"/>
            <a:ext cx="9850881" cy="377753"/>
          </a:xfrm>
        </p:spPr>
        <p:txBody>
          <a:bodyPr anchor="t">
            <a:noAutofit/>
          </a:bodyPr>
          <a:lstStyle>
            <a:lvl1pPr marL="0" marR="0" indent="0" algn="l" defTabSz="91436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spc="133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Put Your Great Subtitle Here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344677" y="6462977"/>
            <a:ext cx="635291" cy="244883"/>
          </a:xfrm>
          <a:prstGeom prst="rect">
            <a:avLst/>
          </a:prstGeom>
        </p:spPr>
        <p:txBody>
          <a:bodyPr vert="horz" lIns="60960" tIns="30480" rIns="60960" bIns="3048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7A186AE-F4AD-4FA7-9F32-F8C5D3D896FE}" type="slidenum">
              <a:rPr lang="en-US" sz="1400" b="1" smtClean="0">
                <a:latin typeface="+mj-lt"/>
              </a:rPr>
              <a:pPr algn="r"/>
              <a:t>‹#›</a:t>
            </a:fld>
            <a:endParaRPr lang="en-US" sz="1400" b="1">
              <a:latin typeface="+mj-lt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544078" y="6461077"/>
            <a:ext cx="10455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00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icus.com</a:t>
            </a:r>
            <a:endParaRPr lang="en-US" sz="100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093" y="6432673"/>
            <a:ext cx="287683" cy="287683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543984" y="1551711"/>
            <a:ext cx="5444237" cy="4396124"/>
          </a:xfrm>
        </p:spPr>
        <p:txBody>
          <a:bodyPr numCol="1"/>
          <a:lstStyle>
            <a:lvl1pPr marL="0" indent="0">
              <a:spcAft>
                <a:spcPts val="800"/>
              </a:spcAft>
              <a:buNone/>
              <a:defRPr b="0"/>
            </a:lvl1pPr>
            <a:lvl2pPr>
              <a:spcAft>
                <a:spcPts val="800"/>
              </a:spcAft>
              <a:defRPr/>
            </a:lvl2pPr>
            <a:lvl3pPr>
              <a:spcAft>
                <a:spcPts val="800"/>
              </a:spcAft>
              <a:defRPr/>
            </a:lvl3pPr>
            <a:lvl4pPr>
              <a:spcAft>
                <a:spcPts val="800"/>
              </a:spcAft>
              <a:defRPr/>
            </a:lvl4pPr>
            <a:lvl5pPr>
              <a:spcAft>
                <a:spcPts val="8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4"/>
          </p:nvPr>
        </p:nvSpPr>
        <p:spPr>
          <a:xfrm>
            <a:off x="6180692" y="1551710"/>
            <a:ext cx="5444237" cy="4396124"/>
          </a:xfrm>
        </p:spPr>
        <p:txBody>
          <a:bodyPr numCol="1"/>
          <a:lstStyle>
            <a:lvl1pPr marL="0" indent="0">
              <a:spcAft>
                <a:spcPts val="800"/>
              </a:spcAft>
              <a:buNone/>
              <a:defRPr b="0"/>
            </a:lvl1pPr>
            <a:lvl2pPr>
              <a:spcAft>
                <a:spcPts val="800"/>
              </a:spcAft>
              <a:defRPr/>
            </a:lvl2pPr>
            <a:lvl3pPr>
              <a:spcAft>
                <a:spcPts val="800"/>
              </a:spcAft>
              <a:defRPr/>
            </a:lvl3pPr>
            <a:lvl4pPr>
              <a:spcAft>
                <a:spcPts val="800"/>
              </a:spcAft>
              <a:defRPr/>
            </a:lvl4pPr>
            <a:lvl5pPr>
              <a:spcAft>
                <a:spcPts val="8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85637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flip dir="r"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0921E300-150A-3068-6A92-48686570DDC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55350" y="195821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4349" y="4235782"/>
            <a:ext cx="4119477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Name</a:t>
            </a:r>
          </a:p>
          <a:p>
            <a:pPr lvl="1"/>
            <a:r>
              <a:rPr lang="en-US"/>
              <a:t>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BC5667FC-2596-FEE3-5345-88F139CCB81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38653" y="195821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37652" y="4235782"/>
            <a:ext cx="4119477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Name</a:t>
            </a:r>
          </a:p>
          <a:p>
            <a:pPr lvl="1"/>
            <a:r>
              <a:rPr lang="en-US"/>
              <a:t>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366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5366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58844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E495B2F-FEC8-0385-0378-276EBC78838F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4" name="Picture 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5220D7E9-22A7-AD59-AAD2-FB1A4AC8D8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604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-212035" y="-1765904"/>
            <a:ext cx="12404035" cy="5124965"/>
            <a:chOff x="0" y="8787280"/>
            <a:chExt cx="46816963" cy="19680105"/>
          </a:xfrm>
        </p:grpSpPr>
        <p:sp>
          <p:nvSpPr>
            <p:cNvPr id="7" name="Freeform 9"/>
            <p:cNvSpPr>
              <a:spLocks/>
            </p:cNvSpPr>
            <p:nvPr/>
          </p:nvSpPr>
          <p:spPr bwMode="auto">
            <a:xfrm>
              <a:off x="0" y="8787280"/>
              <a:ext cx="46816963" cy="19680105"/>
            </a:xfrm>
            <a:custGeom>
              <a:avLst/>
              <a:gdLst>
                <a:gd name="T0" fmla="*/ 0 w 3200"/>
                <a:gd name="T1" fmla="*/ 866 h 1341"/>
                <a:gd name="T2" fmla="*/ 0 w 3200"/>
                <a:gd name="T3" fmla="*/ 901 h 1341"/>
                <a:gd name="T4" fmla="*/ 3200 w 3200"/>
                <a:gd name="T5" fmla="*/ 1043 h 1341"/>
                <a:gd name="T6" fmla="*/ 3200 w 3200"/>
                <a:gd name="T7" fmla="*/ 785 h 1341"/>
                <a:gd name="T8" fmla="*/ 0 w 3200"/>
                <a:gd name="T9" fmla="*/ 866 h 1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00" h="1341">
                  <a:moveTo>
                    <a:pt x="0" y="866"/>
                  </a:moveTo>
                  <a:cubicBezTo>
                    <a:pt x="0" y="901"/>
                    <a:pt x="0" y="901"/>
                    <a:pt x="0" y="901"/>
                  </a:cubicBezTo>
                  <a:cubicBezTo>
                    <a:pt x="1318" y="262"/>
                    <a:pt x="2332" y="1341"/>
                    <a:pt x="3200" y="1043"/>
                  </a:cubicBezTo>
                  <a:cubicBezTo>
                    <a:pt x="3200" y="785"/>
                    <a:pt x="3200" y="785"/>
                    <a:pt x="3200" y="785"/>
                  </a:cubicBezTo>
                  <a:cubicBezTo>
                    <a:pt x="2332" y="1084"/>
                    <a:pt x="1106" y="0"/>
                    <a:pt x="0" y="866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9"/>
            </a:p>
          </p:txBody>
        </p:sp>
        <p:sp>
          <p:nvSpPr>
            <p:cNvPr id="8" name="Freeform 13"/>
            <p:cNvSpPr>
              <a:spLocks/>
            </p:cNvSpPr>
            <p:nvPr/>
          </p:nvSpPr>
          <p:spPr bwMode="auto">
            <a:xfrm>
              <a:off x="18066281" y="15584557"/>
              <a:ext cx="28034062" cy="6921158"/>
            </a:xfrm>
            <a:custGeom>
              <a:avLst/>
              <a:gdLst>
                <a:gd name="T0" fmla="*/ 0 w 1250"/>
                <a:gd name="T1" fmla="*/ 24 h 305"/>
                <a:gd name="T2" fmla="*/ 1250 w 1250"/>
                <a:gd name="T3" fmla="*/ 186 h 305"/>
                <a:gd name="T4" fmla="*/ 0 w 1250"/>
                <a:gd name="T5" fmla="*/ 24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50" h="305">
                  <a:moveTo>
                    <a:pt x="0" y="24"/>
                  </a:moveTo>
                  <a:cubicBezTo>
                    <a:pt x="389" y="21"/>
                    <a:pt x="900" y="305"/>
                    <a:pt x="1250" y="186"/>
                  </a:cubicBezTo>
                  <a:cubicBezTo>
                    <a:pt x="856" y="265"/>
                    <a:pt x="425" y="0"/>
                    <a:pt x="0" y="24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9"/>
            </a:p>
          </p:txBody>
        </p:sp>
      </p:grpSp>
      <p:sp>
        <p:nvSpPr>
          <p:cNvPr id="20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14012" y="254002"/>
            <a:ext cx="11110921" cy="48182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200" b="1" spc="133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052" y="798918"/>
            <a:ext cx="9850881" cy="377753"/>
          </a:xfrm>
        </p:spPr>
        <p:txBody>
          <a:bodyPr anchor="t">
            <a:noAutofit/>
          </a:bodyPr>
          <a:lstStyle>
            <a:lvl1pPr marL="0" marR="0" indent="0" algn="l" defTabSz="91436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spc="133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Put Your Great Subtitle Here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344677" y="6462977"/>
            <a:ext cx="635291" cy="244883"/>
          </a:xfrm>
          <a:prstGeom prst="rect">
            <a:avLst/>
          </a:prstGeom>
        </p:spPr>
        <p:txBody>
          <a:bodyPr vert="horz" lIns="60960" tIns="30480" rIns="60960" bIns="3048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7A186AE-F4AD-4FA7-9F32-F8C5D3D896FE}" type="slidenum">
              <a:rPr lang="en-US" sz="1400" b="1" smtClean="0">
                <a:latin typeface="+mj-lt"/>
              </a:rPr>
              <a:pPr algn="r"/>
              <a:t>‹#›</a:t>
            </a:fld>
            <a:endParaRPr lang="en-US" sz="1400" b="1">
              <a:latin typeface="+mj-lt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544078" y="6461077"/>
            <a:ext cx="10455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00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icus.com</a:t>
            </a:r>
            <a:endParaRPr lang="en-US" sz="100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093" y="6432673"/>
            <a:ext cx="287683" cy="287683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543986" y="1551711"/>
            <a:ext cx="11222567" cy="4396124"/>
          </a:xfrm>
        </p:spPr>
        <p:txBody>
          <a:bodyPr/>
          <a:lstStyle>
            <a:lvl1pPr marL="0" indent="0">
              <a:spcAft>
                <a:spcPts val="800"/>
              </a:spcAft>
              <a:buNone/>
              <a:defRPr/>
            </a:lvl1pPr>
            <a:lvl2pPr>
              <a:spcAft>
                <a:spcPts val="800"/>
              </a:spcAft>
              <a:defRPr/>
            </a:lvl2pPr>
            <a:lvl3pPr>
              <a:spcAft>
                <a:spcPts val="800"/>
              </a:spcAft>
              <a:defRPr/>
            </a:lvl3pPr>
            <a:lvl4pPr>
              <a:spcAft>
                <a:spcPts val="800"/>
              </a:spcAft>
              <a:defRPr/>
            </a:lvl4pPr>
            <a:lvl5pPr>
              <a:spcAft>
                <a:spcPts val="8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32497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flip dir="r"/>
      </p:transition>
    </mc:Choice>
    <mc:Fallback xmlns="">
      <p:transition spd="slow"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C804E1-454D-0BC3-A1B5-FCC0D6BC9E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5A229BA-A4C5-BD9D-07AB-BD167F9CB39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39DD12-FD82-C25A-C01D-2CC4A0E3E2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F0D4E2-C103-7144-BB2A-10B5CFB5CB08}" type="datetimeFigureOut">
              <a:rPr lang="en-US" smtClean="0"/>
              <a:t>3/15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B27D5B-2910-7AB7-8578-22EFC5DF2C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9CB625-01F3-BF38-D77D-69B820785F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272077-4F36-994A-9574-0562A2BBAE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4076865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o not remove" hidden="1">
            <a:extLst>
              <a:ext uri="{FF2B5EF4-FFF2-40B4-BE49-F238E27FC236}">
                <a16:creationId xmlns:a16="http://schemas.microsoft.com/office/drawing/2014/main" id="{232D3EC1-C94D-CA00-F2F4-A96FC96F4D0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6933" cy="16933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-212035" y="-1765904"/>
            <a:ext cx="12404035" cy="5124965"/>
            <a:chOff x="0" y="8787280"/>
            <a:chExt cx="46816963" cy="19680105"/>
          </a:xfrm>
        </p:grpSpPr>
        <p:sp>
          <p:nvSpPr>
            <p:cNvPr id="7" name="Freeform 9"/>
            <p:cNvSpPr>
              <a:spLocks/>
            </p:cNvSpPr>
            <p:nvPr/>
          </p:nvSpPr>
          <p:spPr bwMode="auto">
            <a:xfrm>
              <a:off x="0" y="8787280"/>
              <a:ext cx="46816963" cy="19680105"/>
            </a:xfrm>
            <a:custGeom>
              <a:avLst/>
              <a:gdLst>
                <a:gd name="T0" fmla="*/ 0 w 3200"/>
                <a:gd name="T1" fmla="*/ 866 h 1341"/>
                <a:gd name="T2" fmla="*/ 0 w 3200"/>
                <a:gd name="T3" fmla="*/ 901 h 1341"/>
                <a:gd name="T4" fmla="*/ 3200 w 3200"/>
                <a:gd name="T5" fmla="*/ 1043 h 1341"/>
                <a:gd name="T6" fmla="*/ 3200 w 3200"/>
                <a:gd name="T7" fmla="*/ 785 h 1341"/>
                <a:gd name="T8" fmla="*/ 0 w 3200"/>
                <a:gd name="T9" fmla="*/ 866 h 1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00" h="1341">
                  <a:moveTo>
                    <a:pt x="0" y="866"/>
                  </a:moveTo>
                  <a:cubicBezTo>
                    <a:pt x="0" y="901"/>
                    <a:pt x="0" y="901"/>
                    <a:pt x="0" y="901"/>
                  </a:cubicBezTo>
                  <a:cubicBezTo>
                    <a:pt x="1318" y="262"/>
                    <a:pt x="2332" y="1341"/>
                    <a:pt x="3200" y="1043"/>
                  </a:cubicBezTo>
                  <a:cubicBezTo>
                    <a:pt x="3200" y="785"/>
                    <a:pt x="3200" y="785"/>
                    <a:pt x="3200" y="785"/>
                  </a:cubicBezTo>
                  <a:cubicBezTo>
                    <a:pt x="2332" y="1084"/>
                    <a:pt x="1106" y="0"/>
                    <a:pt x="0" y="866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9"/>
            </a:p>
          </p:txBody>
        </p:sp>
        <p:sp>
          <p:nvSpPr>
            <p:cNvPr id="8" name="Freeform 13"/>
            <p:cNvSpPr>
              <a:spLocks/>
            </p:cNvSpPr>
            <p:nvPr/>
          </p:nvSpPr>
          <p:spPr bwMode="auto">
            <a:xfrm>
              <a:off x="18066281" y="15584557"/>
              <a:ext cx="28034062" cy="6921158"/>
            </a:xfrm>
            <a:custGeom>
              <a:avLst/>
              <a:gdLst>
                <a:gd name="T0" fmla="*/ 0 w 1250"/>
                <a:gd name="T1" fmla="*/ 24 h 305"/>
                <a:gd name="T2" fmla="*/ 1250 w 1250"/>
                <a:gd name="T3" fmla="*/ 186 h 305"/>
                <a:gd name="T4" fmla="*/ 0 w 1250"/>
                <a:gd name="T5" fmla="*/ 24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50" h="305">
                  <a:moveTo>
                    <a:pt x="0" y="24"/>
                  </a:moveTo>
                  <a:cubicBezTo>
                    <a:pt x="389" y="21"/>
                    <a:pt x="900" y="305"/>
                    <a:pt x="1250" y="186"/>
                  </a:cubicBezTo>
                  <a:cubicBezTo>
                    <a:pt x="856" y="265"/>
                    <a:pt x="425" y="0"/>
                    <a:pt x="0" y="24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9"/>
            </a:p>
          </p:txBody>
        </p:sp>
      </p:grpSp>
      <p:sp>
        <p:nvSpPr>
          <p:cNvPr id="20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43840" y="214983"/>
            <a:ext cx="11704320" cy="4818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3200" b="1" spc="133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43840" y="712451"/>
            <a:ext cx="11704320" cy="765724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91429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spc="133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Put Your Great Subtitle Here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312869" y="6462977"/>
            <a:ext cx="635291" cy="244883"/>
          </a:xfrm>
          <a:prstGeom prst="rect">
            <a:avLst/>
          </a:prstGeom>
        </p:spPr>
        <p:txBody>
          <a:bodyPr vert="horz" lIns="0" tIns="30480" rIns="0" bIns="3048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7A186AE-F4AD-4FA7-9F32-F8C5D3D896FE}" type="slidenum">
              <a:rPr lang="en-US" sz="1400" b="1" smtClean="0">
                <a:latin typeface="+mj-lt"/>
              </a:rPr>
              <a:pPr algn="r"/>
              <a:t>‹#›</a:t>
            </a:fld>
            <a:endParaRPr lang="en-US" sz="1400" b="1">
              <a:latin typeface="+mj-lt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535436" y="6461080"/>
            <a:ext cx="10455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00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icus.com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3841" y="6432673"/>
            <a:ext cx="287683" cy="28768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464F894-1B7E-4288-90DD-A23470A19BF2}"/>
              </a:ext>
            </a:extLst>
          </p:cNvPr>
          <p:cNvSpPr txBox="1"/>
          <p:nvPr userDrawn="1"/>
        </p:nvSpPr>
        <p:spPr>
          <a:xfrm>
            <a:off x="9326875" y="6529059"/>
            <a:ext cx="232822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800" i="0">
                <a:solidFill>
                  <a:schemeClr val="bg2">
                    <a:lumMod val="50000"/>
                  </a:schemeClr>
                </a:solidFill>
              </a:rPr>
              <a:t>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3295803506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6313D4-977E-A5F2-6EC7-B1462BF548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367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No background layout – Click to add slid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4DF489C-64CD-4A63-833D-6B9A60F58F1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5367" y="989733"/>
            <a:ext cx="10972800" cy="400110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D7BB8B2-4A22-8A66-8036-6D8CE72F8D66}"/>
              </a:ext>
            </a:extLst>
          </p:cNvPr>
          <p:cNvCxnSpPr>
            <a:cxnSpLocks/>
          </p:cNvCxnSpPr>
          <p:nvPr userDrawn="1"/>
        </p:nvCxnSpPr>
        <p:spPr>
          <a:xfrm>
            <a:off x="5258844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E626FCA-CB63-6310-722E-F15225B2C263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C7B1B2CF-CB17-B455-3AC4-C989FAE632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  <p:sp>
        <p:nvSpPr>
          <p:cNvPr id="5" name="Text Placeholder 16">
            <a:extLst>
              <a:ext uri="{FF2B5EF4-FFF2-40B4-BE49-F238E27FC236}">
                <a16:creationId xmlns:a16="http://schemas.microsoft.com/office/drawing/2014/main" id="{DF17CCA6-D67A-82A0-167A-2CF37EB234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9" y="1696292"/>
            <a:ext cx="10972800" cy="4403721"/>
          </a:xfrm>
        </p:spPr>
        <p:txBody>
          <a:bodyPr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en-US" sz="2400"/>
              <a:t>Click to edit text</a:t>
            </a:r>
          </a:p>
          <a:p>
            <a:pPr marL="406381" lvl="1" indent="-242877"/>
            <a:r>
              <a:rPr lang="en-US" sz="2000"/>
              <a:t>Second level</a:t>
            </a:r>
          </a:p>
          <a:p>
            <a:pPr marL="744501" lvl="2" indent="-220652"/>
            <a:r>
              <a:rPr lang="en-US" sz="1800"/>
              <a:t>Third level</a:t>
            </a:r>
          </a:p>
          <a:p>
            <a:pPr marL="1206441" lvl="3" indent="-234939"/>
            <a:r>
              <a:rPr lang="en-US" sz="1600"/>
              <a:t>Fourth level</a:t>
            </a:r>
          </a:p>
          <a:p>
            <a:pPr marL="1716002" lvl="4" indent="-227002"/>
            <a:r>
              <a:rPr lang="en-US" sz="160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8814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283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8E2F7EE-7709-35BA-E127-C50BC1009EB5}"/>
              </a:ext>
            </a:extLst>
          </p:cNvPr>
          <p:cNvGrpSpPr/>
          <p:nvPr userDrawn="1"/>
        </p:nvGrpSpPr>
        <p:grpSpPr>
          <a:xfrm>
            <a:off x="7392509" y="-3678194"/>
            <a:ext cx="5720108" cy="5720108"/>
            <a:chOff x="105150" y="-3122465"/>
            <a:chExt cx="5720108" cy="5720108"/>
          </a:xfrm>
        </p:grpSpPr>
        <p:sp>
          <p:nvSpPr>
            <p:cNvPr id="13" name="Chord 12">
              <a:extLst>
                <a:ext uri="{FF2B5EF4-FFF2-40B4-BE49-F238E27FC236}">
                  <a16:creationId xmlns:a16="http://schemas.microsoft.com/office/drawing/2014/main" id="{CFC3B866-3DF5-6AE9-F330-2CEFF3126B8E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972540"/>
                <a:gd name="adj2" fmla="val 988089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7" name="Chord 16">
              <a:extLst>
                <a:ext uri="{FF2B5EF4-FFF2-40B4-BE49-F238E27FC236}">
                  <a16:creationId xmlns:a16="http://schemas.microsoft.com/office/drawing/2014/main" id="{77547FDB-7552-1776-A57C-6D2898A85D30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171149"/>
                <a:gd name="adj2" fmla="val 959543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8" name="Chord 17">
              <a:extLst>
                <a:ext uri="{FF2B5EF4-FFF2-40B4-BE49-F238E27FC236}">
                  <a16:creationId xmlns:a16="http://schemas.microsoft.com/office/drawing/2014/main" id="{8E1EBB78-23CA-495F-E7D4-052BBA798DA1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517033"/>
                <a:gd name="adj2" fmla="val 9345714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D368C0C-6AE5-6848-0E96-7325AE63A9B4}"/>
              </a:ext>
            </a:extLst>
          </p:cNvPr>
          <p:cNvGrpSpPr/>
          <p:nvPr userDrawn="1"/>
        </p:nvGrpSpPr>
        <p:grpSpPr>
          <a:xfrm rot="10800000">
            <a:off x="-989286" y="5065530"/>
            <a:ext cx="5720108" cy="5720108"/>
            <a:chOff x="105150" y="-3122465"/>
            <a:chExt cx="5720108" cy="5720108"/>
          </a:xfrm>
        </p:grpSpPr>
        <p:sp>
          <p:nvSpPr>
            <p:cNvPr id="20" name="Chord 19">
              <a:extLst>
                <a:ext uri="{FF2B5EF4-FFF2-40B4-BE49-F238E27FC236}">
                  <a16:creationId xmlns:a16="http://schemas.microsoft.com/office/drawing/2014/main" id="{55C18862-C275-34CA-0FF9-D648867E5C13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215574"/>
                <a:gd name="adj2" fmla="val 9610099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1" name="Chord 20">
              <a:extLst>
                <a:ext uri="{FF2B5EF4-FFF2-40B4-BE49-F238E27FC236}">
                  <a16:creationId xmlns:a16="http://schemas.microsoft.com/office/drawing/2014/main" id="{C643B53E-DE3F-C827-26B2-3F973467D24F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503614"/>
                <a:gd name="adj2" fmla="val 9282250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2" name="Chord 21">
              <a:extLst>
                <a:ext uri="{FF2B5EF4-FFF2-40B4-BE49-F238E27FC236}">
                  <a16:creationId xmlns:a16="http://schemas.microsoft.com/office/drawing/2014/main" id="{8AD67EB1-5666-9C24-2C0E-448AB847B637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82273"/>
                <a:gd name="adj2" fmla="val 8808404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0A24EED9-4ADC-C399-7382-301E46A0CC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69044"/>
            <a:ext cx="10972800" cy="52322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F5CDCDF-0943-B2E8-8886-A788DF7179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400109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B4044E7-D165-021E-FE1B-FD68226DB0E4}"/>
              </a:ext>
            </a:extLst>
          </p:cNvPr>
          <p:cNvCxnSpPr>
            <a:cxnSpLocks/>
          </p:cNvCxnSpPr>
          <p:nvPr userDrawn="1"/>
        </p:nvCxnSpPr>
        <p:spPr>
          <a:xfrm>
            <a:off x="5243079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2FA1AA87-ED82-9197-6BF3-32B0F8579B01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70922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24" name="Picture 2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78CA3334-FFDD-A2BC-1614-72E1172369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6"/>
            <a:ext cx="1280160" cy="265335"/>
          </a:xfrm>
          <a:prstGeom prst="rect">
            <a:avLst/>
          </a:prstGeom>
        </p:spPr>
      </p:pic>
      <p:sp>
        <p:nvSpPr>
          <p:cNvPr id="2" name="Text Placeholder 16">
            <a:extLst>
              <a:ext uri="{FF2B5EF4-FFF2-40B4-BE49-F238E27FC236}">
                <a16:creationId xmlns:a16="http://schemas.microsoft.com/office/drawing/2014/main" id="{EE5D20B2-7720-7BD2-20FF-1490D95C26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9" y="1696292"/>
            <a:ext cx="10972800" cy="4403721"/>
          </a:xfrm>
        </p:spPr>
        <p:txBody>
          <a:bodyPr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en-US" sz="2400"/>
              <a:t>Click to edit text</a:t>
            </a:r>
          </a:p>
          <a:p>
            <a:pPr marL="406381" lvl="1" indent="-242877"/>
            <a:r>
              <a:rPr lang="en-US" sz="2000"/>
              <a:t>Second level</a:t>
            </a:r>
          </a:p>
          <a:p>
            <a:pPr marL="744501" lvl="2" indent="-220652"/>
            <a:r>
              <a:rPr lang="en-US" sz="1800"/>
              <a:t>Third level</a:t>
            </a:r>
          </a:p>
          <a:p>
            <a:pPr marL="1206441" lvl="3" indent="-234939"/>
            <a:r>
              <a:rPr lang="en-US" sz="1600"/>
              <a:t>Fourth level</a:t>
            </a:r>
          </a:p>
          <a:p>
            <a:pPr marL="1716002" lvl="4" indent="-227002"/>
            <a:r>
              <a:rPr lang="en-US" sz="160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52427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0299076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B5A9E4D-0D92-5ED2-F736-186687CB9B3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034258" y="1946722"/>
            <a:ext cx="3443249" cy="2320569"/>
          </a:xfrm>
          <a:solidFill>
            <a:schemeClr val="tx1">
              <a:lumMod val="85000"/>
              <a:lumOff val="15000"/>
            </a:schemeClr>
          </a:solidFill>
        </p:spPr>
        <p:txBody>
          <a:bodyPr anchor="ctr"/>
          <a:lstStyle>
            <a:lvl1pPr marL="0" indent="0" algn="ctr">
              <a:buFont typeface="+mj-lt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or drag and drop to add a photo he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60B13DE-CF74-0C01-29F6-1F553AFBAC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425950"/>
            <a:ext cx="4901739" cy="647479"/>
          </a:xfrm>
        </p:spPr>
        <p:txBody>
          <a:bodyPr anchor="b">
            <a:normAutofit/>
          </a:bodyPr>
          <a:lstStyle>
            <a:lvl1pPr marL="0"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B1A9AF8-396E-78CD-745C-54468DA7923E}"/>
              </a:ext>
            </a:extLst>
          </p:cNvPr>
          <p:cNvSpPr>
            <a:spLocks noGrp="1"/>
          </p:cNvSpPr>
          <p:nvPr>
            <p:ph type="subTitle" idx="11" hasCustomPrompt="1"/>
          </p:nvPr>
        </p:nvSpPr>
        <p:spPr>
          <a:xfrm>
            <a:off x="609601" y="1329889"/>
            <a:ext cx="4975723" cy="429635"/>
          </a:xfrm>
        </p:spPr>
        <p:txBody>
          <a:bodyPr>
            <a:no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9D4DC19E-AA34-9A68-624F-71FD60E3F78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9278" y="2183524"/>
            <a:ext cx="4962063" cy="4106917"/>
          </a:xfrm>
        </p:spPr>
        <p:txBody>
          <a:bodyPr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lang="en-US" sz="2400"/>
              <a:t>Click to edit text</a:t>
            </a:r>
          </a:p>
          <a:p>
            <a:pPr marL="406381" lvl="1" indent="-242877"/>
            <a:r>
              <a:rPr lang="en-US" sz="2000"/>
              <a:t>Second level</a:t>
            </a:r>
          </a:p>
          <a:p>
            <a:pPr marL="744501" lvl="2" indent="-220652"/>
            <a:r>
              <a:rPr lang="en-US" sz="1800"/>
              <a:t>Third level</a:t>
            </a:r>
          </a:p>
          <a:p>
            <a:pPr marL="1206441" lvl="3" indent="-234939"/>
            <a:r>
              <a:rPr lang="en-US" sz="1600"/>
              <a:t>Fourth level</a:t>
            </a:r>
          </a:p>
          <a:p>
            <a:pPr marL="1716002" lvl="4" indent="-227002"/>
            <a:r>
              <a:rPr lang="en-US" sz="1600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B152675-A2E8-960D-84C5-E451E6F45FB3}"/>
              </a:ext>
            </a:extLst>
          </p:cNvPr>
          <p:cNvCxnSpPr>
            <a:cxnSpLocks/>
          </p:cNvCxnSpPr>
          <p:nvPr userDrawn="1"/>
        </p:nvCxnSpPr>
        <p:spPr>
          <a:xfrm>
            <a:off x="609602" y="1143951"/>
            <a:ext cx="170584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6" name="Picture 15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0756F70A-8F44-2B56-A0B3-4A4D599050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153" y="6537008"/>
            <a:ext cx="753859" cy="156096"/>
          </a:xfrm>
          <a:prstGeom prst="rect">
            <a:avLst/>
          </a:prstGeom>
        </p:spPr>
      </p:pic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CA5772EE-29ED-5C07-CE5C-AB65B76D2363}"/>
              </a:ext>
            </a:extLst>
          </p:cNvPr>
          <p:cNvSpPr txBox="1">
            <a:spLocks/>
          </p:cNvSpPr>
          <p:nvPr userDrawn="1"/>
        </p:nvSpPr>
        <p:spPr>
          <a:xfrm>
            <a:off x="11517618" y="649985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496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B938C31-136F-E3FB-281A-3A9C76D977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829" r="-1153"/>
          <a:stretch/>
        </p:blipFill>
        <p:spPr>
          <a:xfrm>
            <a:off x="0" y="4386656"/>
            <a:ext cx="4704080" cy="247134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AE647DC-5977-5FDE-D0BC-58A33AB621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94880" y="0"/>
            <a:ext cx="4897120" cy="248525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41D1372-5562-1084-0E1D-279F4A5FE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7171" y="2440039"/>
            <a:ext cx="10357659" cy="1219435"/>
          </a:xfrm>
        </p:spPr>
        <p:txBody>
          <a:bodyPr anchor="b">
            <a:normAutofit/>
          </a:bodyPr>
          <a:lstStyle>
            <a:lvl1pPr algn="ctr">
              <a:defRPr sz="4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1E93011-163A-7CE3-C1A8-AF7205337D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98769" y="3957021"/>
            <a:ext cx="5594465" cy="429635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6E54B8-D584-A5BC-14B3-45BF93CE1775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99850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8549483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_WB 2011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o not remove" hidden="1">
            <a:extLst>
              <a:ext uri="{FF2B5EF4-FFF2-40B4-BE49-F238E27FC236}">
                <a16:creationId xmlns:a16="http://schemas.microsoft.com/office/drawing/2014/main" id="{71B1B1E9-DB49-75AF-B542-2B790EFF83B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0" rIns="45720" bIns="0" rtlCol="0" anchor="ctr" anchorCtr="0"/>
          <a:lstStyle/>
          <a:p>
            <a:pPr algn="ctr"/>
            <a:endParaRPr lang="en-US" sz="1100" b="1">
              <a:solidFill>
                <a:schemeClr val="accent2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D57AA69-8954-7688-0023-7172E72F028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2887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402915" y="4456081"/>
            <a:ext cx="8903722" cy="63188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lnSpc>
                <a:spcPct val="100000"/>
              </a:lnSpc>
              <a:defRPr sz="2400" b="1" cap="none" baseline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[Divider]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E7C0ED0-718F-E5B2-A0DD-B0B8748A601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74067" y="4072189"/>
            <a:ext cx="1150503" cy="113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40657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BC5667FC-2596-FEE3-5345-88F139CCB81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599251" y="195821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B48EC1A1-7D43-BADF-C955-D9D2305CD75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37263" y="195821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6A6A78D-DC10-BEBE-0CDA-6C7833C13A9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88925" y="195821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0476" y="4235783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Name</a:t>
            </a:r>
          </a:p>
          <a:p>
            <a:pPr lvl="1"/>
            <a:r>
              <a:rPr lang="en-US"/>
              <a:t>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5313" y="4235784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Name</a:t>
            </a:r>
          </a:p>
          <a:p>
            <a:pPr lvl="1"/>
            <a:r>
              <a:rPr lang="en-US"/>
              <a:t>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00150" y="4235782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Name</a:t>
            </a:r>
          </a:p>
          <a:p>
            <a:pPr lvl="1"/>
            <a:r>
              <a:rPr lang="en-US"/>
              <a:t>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50D36E7-90AE-952C-E53A-C84A4D3CF8A8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4" name="Picture 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4EF0E661-6600-79C9-3029-A8C9A12E1D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4451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_WB 2011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D57AA69-8954-7688-0023-7172E72F02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5249"/>
            <a:ext cx="12192000" cy="686723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02915" y="4456081"/>
            <a:ext cx="8903722" cy="63188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lnSpc>
                <a:spcPct val="100000"/>
              </a:lnSpc>
              <a:defRPr sz="2400" b="1" cap="none" baseline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[Divider]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E7C0ED0-718F-E5B2-A0DD-B0B8748A601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74067" y="4072189"/>
            <a:ext cx="1150503" cy="113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716119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_WB 2011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D57AA69-8954-7688-0023-7172E72F02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3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02915" y="4456081"/>
            <a:ext cx="8903722" cy="63188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lnSpc>
                <a:spcPct val="100000"/>
              </a:lnSpc>
              <a:defRPr sz="2400" b="1" cap="none" baseline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[Divider]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E7C0ED0-718F-E5B2-A0DD-B0B8748A601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74067" y="4072189"/>
            <a:ext cx="1150503" cy="113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180360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_WB 2011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D57AA69-8954-7688-0023-7172E72F02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2858"/>
            <a:ext cx="12191999" cy="6853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02915" y="4456081"/>
            <a:ext cx="8903722" cy="63188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lnSpc>
                <a:spcPct val="100000"/>
              </a:lnSpc>
              <a:defRPr sz="2400" b="1" cap="none" baseline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[Divider]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E7C0ED0-718F-E5B2-A0DD-B0B8748A601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74067" y="4072189"/>
            <a:ext cx="1150503" cy="113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1844592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_WB 2011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white building with columns and a red stripe&#10;&#10;Description automatically generated">
            <a:extLst>
              <a:ext uri="{FF2B5EF4-FFF2-40B4-BE49-F238E27FC236}">
                <a16:creationId xmlns:a16="http://schemas.microsoft.com/office/drawing/2014/main" id="{F3A6193C-36D8-8A44-13DA-8F3F0A5528A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42"/>
            <a:ext cx="12192000" cy="6853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02915" y="4456081"/>
            <a:ext cx="8903722" cy="63188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lnSpc>
                <a:spcPct val="100000"/>
              </a:lnSpc>
              <a:defRPr sz="2400" b="1" cap="none" baseline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[Divider]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E7C0ED0-718F-E5B2-A0DD-B0B8748A601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74067" y="4072189"/>
            <a:ext cx="1150503" cy="113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6063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_WB 2011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uilding with a flag&#10;&#10;Description automatically generated">
            <a:extLst>
              <a:ext uri="{FF2B5EF4-FFF2-40B4-BE49-F238E27FC236}">
                <a16:creationId xmlns:a16="http://schemas.microsoft.com/office/drawing/2014/main" id="{8D3723B8-9BA3-63C8-A8D4-908B87BF97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42"/>
            <a:ext cx="12192000" cy="6853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02915" y="4456081"/>
            <a:ext cx="8903722" cy="63188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lnSpc>
                <a:spcPct val="100000"/>
              </a:lnSpc>
              <a:defRPr sz="2400" b="1" cap="none" baseline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[Divider]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E7C0ED0-718F-E5B2-A0DD-B0B8748A601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74067" y="4072189"/>
            <a:ext cx="1150503" cy="113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717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_WB 2011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-up of a building&#10;&#10;Description automatically generated">
            <a:extLst>
              <a:ext uri="{FF2B5EF4-FFF2-40B4-BE49-F238E27FC236}">
                <a16:creationId xmlns:a16="http://schemas.microsoft.com/office/drawing/2014/main" id="{A0ACE37D-41A3-6C72-5987-AD1C4921F70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42"/>
            <a:ext cx="12192000" cy="6853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02915" y="4456081"/>
            <a:ext cx="8903722" cy="63188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lnSpc>
                <a:spcPct val="100000"/>
              </a:lnSpc>
              <a:defRPr sz="2400" b="1" cap="none" baseline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[Divider]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E7C0ED0-718F-E5B2-A0DD-B0B8748A601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74067" y="4072189"/>
            <a:ext cx="1150503" cy="113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5973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_WB 2011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-up of a dome&#10;&#10;Description automatically generated">
            <a:extLst>
              <a:ext uri="{FF2B5EF4-FFF2-40B4-BE49-F238E27FC236}">
                <a16:creationId xmlns:a16="http://schemas.microsoft.com/office/drawing/2014/main" id="{2129979B-9217-B259-3594-54E80A35C10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42"/>
            <a:ext cx="12192000" cy="6853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02915" y="4456081"/>
            <a:ext cx="8903722" cy="63188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lnSpc>
                <a:spcPct val="100000"/>
              </a:lnSpc>
              <a:defRPr sz="2400" b="1" cap="none" baseline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[Divider]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E7C0ED0-718F-E5B2-A0DD-B0B8748A601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74067" y="4072189"/>
            <a:ext cx="1150503" cy="113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271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_WB 2011 Body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567EE53-A34B-7B8C-D184-C34FEA2CC1D3}"/>
              </a:ext>
            </a:extLst>
          </p:cNvPr>
          <p:cNvSpPr/>
          <p:nvPr userDrawn="1"/>
        </p:nvSpPr>
        <p:spPr>
          <a:xfrm>
            <a:off x="0" y="1"/>
            <a:ext cx="12192000" cy="458978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228600" indent="-228600" algn="ctr">
              <a:buFont typeface="Arial" pitchFamily="34" charset="0"/>
              <a:buChar char="•"/>
            </a:pPr>
            <a:endParaRPr lang="en-US" sz="1400">
              <a:solidFill>
                <a:schemeClr val="tx1"/>
              </a:solidFill>
              <a:latin typeface="Roboto" panose="02000000000000000000" pitchFamily="2" charset="0"/>
            </a:endParaRPr>
          </a:p>
        </p:txBody>
      </p:sp>
      <p:sp>
        <p:nvSpPr>
          <p:cNvPr id="10" name="Do not remove" hidden="1">
            <a:extLst>
              <a:ext uri="{FF2B5EF4-FFF2-40B4-BE49-F238E27FC236}">
                <a16:creationId xmlns:a16="http://schemas.microsoft.com/office/drawing/2014/main" id="{4D61E3EB-86E7-4083-891F-6A3F9A5238C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228600" indent="-228600" algn="ctr">
              <a:buFont typeface="Arial" pitchFamily="34" charset="0"/>
              <a:buChar char="•"/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94267" y="304801"/>
            <a:ext cx="10786533" cy="426021"/>
          </a:xfrm>
          <a:prstGeom prst="rect">
            <a:avLst/>
          </a:prstGeom>
        </p:spPr>
        <p:txBody>
          <a:bodyPr vert="horz" wrap="none" lIns="0" tIns="0" rIns="0" bIns="45720" rtlCol="0" anchor="b" anchorCtr="0">
            <a:noAutofit/>
          </a:bodyPr>
          <a:lstStyle>
            <a:lvl1pPr>
              <a:lnSpc>
                <a:spcPct val="1000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[Body Page]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694267" y="1435608"/>
            <a:ext cx="10789920" cy="4736592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200"/>
            </a:lvl1pPr>
            <a:lvl2pPr>
              <a:spcBef>
                <a:spcPts val="600"/>
              </a:spcBef>
              <a:buClr>
                <a:schemeClr val="accent1"/>
              </a:buClr>
              <a:defRPr sz="1100"/>
            </a:lvl2pPr>
            <a:lvl3pPr>
              <a:spcBef>
                <a:spcPts val="600"/>
              </a:spcBef>
              <a:buClr>
                <a:schemeClr val="accent1"/>
              </a:buClr>
              <a:defRPr sz="105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E980C48D-0CF6-70F8-39BE-6E4611D2F7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4944" y="819913"/>
            <a:ext cx="10785856" cy="294513"/>
          </a:xfrm>
          <a:prstGeom prst="rect">
            <a:avLst/>
          </a:prstGeom>
        </p:spPr>
        <p:txBody>
          <a:bodyPr wrap="square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lang="en-US" sz="1400" b="0" i="1" kern="1200" baseline="0" dirty="0">
                <a:solidFill>
                  <a:schemeClr val="accent2"/>
                </a:solidFill>
                <a:latin typeface="+mn-lt"/>
                <a:ea typeface="ＭＳ Ｐゴシック" pitchFamily="29" charset="-128"/>
                <a:cs typeface="Times New Roman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914164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</a:pPr>
            <a:r>
              <a:rPr lang="en-US"/>
              <a:t>Edit master text styles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5BA4E61D-FA8E-4199-F996-F8746D7BB8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15127" y="6475502"/>
            <a:ext cx="7514364" cy="294513"/>
          </a:xfrm>
          <a:prstGeom prst="rect">
            <a:avLst/>
          </a:prstGeom>
        </p:spPr>
        <p:txBody>
          <a:bodyPr wrap="square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lang="en-US" sz="700" b="0" i="0" kern="1200" baseline="0" dirty="0">
                <a:solidFill>
                  <a:schemeClr val="tx1"/>
                </a:solidFill>
                <a:latin typeface="+mn-lt"/>
                <a:ea typeface="ＭＳ Ｐゴシック" pitchFamily="29" charset="-128"/>
                <a:cs typeface="Times New Roman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914164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</a:pPr>
            <a:r>
              <a:rPr lang="en-US"/>
              <a:t>Edit master text style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D0A8159-1684-90E5-5D31-1403A89C4C68}"/>
              </a:ext>
            </a:extLst>
          </p:cNvPr>
          <p:cNvGrpSpPr/>
          <p:nvPr userDrawn="1"/>
        </p:nvGrpSpPr>
        <p:grpSpPr>
          <a:xfrm>
            <a:off x="-8318" y="1426088"/>
            <a:ext cx="4070045" cy="4819763"/>
            <a:chOff x="-8318" y="1426088"/>
            <a:chExt cx="4070045" cy="4819763"/>
          </a:xfrm>
          <a:solidFill>
            <a:schemeClr val="bg1">
              <a:alpha val="2000"/>
            </a:schemeClr>
          </a:soli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5BCF7C38-4DFC-BD23-F976-A3546DDE3F07}"/>
                </a:ext>
              </a:extLst>
            </p:cNvPr>
            <p:cNvSpPr/>
            <p:nvPr/>
          </p:nvSpPr>
          <p:spPr>
            <a:xfrm>
              <a:off x="-8318" y="1426088"/>
              <a:ext cx="3959116" cy="1664181"/>
            </a:xfrm>
            <a:custGeom>
              <a:avLst/>
              <a:gdLst>
                <a:gd name="connsiteX0" fmla="*/ 1666376 w 3959116"/>
                <a:gd name="connsiteY0" fmla="*/ 104 h 1664181"/>
                <a:gd name="connsiteX1" fmla="*/ 3959116 w 3959116"/>
                <a:gd name="connsiteY1" fmla="*/ 1651859 h 1664181"/>
                <a:gd name="connsiteX2" fmla="*/ 3959116 w 3959116"/>
                <a:gd name="connsiteY2" fmla="*/ 1664181 h 1664181"/>
                <a:gd name="connsiteX3" fmla="*/ 3798866 w 3959116"/>
                <a:gd name="connsiteY3" fmla="*/ 1664181 h 1664181"/>
                <a:gd name="connsiteX4" fmla="*/ 3798866 w 3959116"/>
                <a:gd name="connsiteY4" fmla="*/ 1651859 h 1664181"/>
                <a:gd name="connsiteX5" fmla="*/ 1654055 w 3959116"/>
                <a:gd name="connsiteY5" fmla="*/ 135693 h 1664181"/>
                <a:gd name="connsiteX6" fmla="*/ 53152 w 3959116"/>
                <a:gd name="connsiteY6" fmla="*/ 798243 h 1664181"/>
                <a:gd name="connsiteX7" fmla="*/ 0 w 3959116"/>
                <a:gd name="connsiteY7" fmla="*/ 856498 h 1664181"/>
                <a:gd name="connsiteX8" fmla="*/ 0 w 3959116"/>
                <a:gd name="connsiteY8" fmla="*/ 651533 h 1664181"/>
                <a:gd name="connsiteX9" fmla="*/ 120724 w 3959116"/>
                <a:gd name="connsiteY9" fmla="*/ 542652 h 1664181"/>
                <a:gd name="connsiteX10" fmla="*/ 1666376 w 3959116"/>
                <a:gd name="connsiteY10" fmla="*/ 104 h 1664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59116" h="1664181">
                  <a:moveTo>
                    <a:pt x="1666376" y="104"/>
                  </a:moveTo>
                  <a:cubicBezTo>
                    <a:pt x="2701808" y="104"/>
                    <a:pt x="3626294" y="665731"/>
                    <a:pt x="3959116" y="1651859"/>
                  </a:cubicBezTo>
                  <a:lnTo>
                    <a:pt x="3959116" y="1664181"/>
                  </a:lnTo>
                  <a:lnTo>
                    <a:pt x="3798866" y="1664181"/>
                  </a:lnTo>
                  <a:lnTo>
                    <a:pt x="3798866" y="1651859"/>
                  </a:lnTo>
                  <a:cubicBezTo>
                    <a:pt x="3478382" y="739696"/>
                    <a:pt x="2615522" y="135693"/>
                    <a:pt x="1654055" y="135693"/>
                  </a:cubicBezTo>
                  <a:cubicBezTo>
                    <a:pt x="1031571" y="135693"/>
                    <a:pt x="464551" y="388386"/>
                    <a:pt x="53152" y="798243"/>
                  </a:cubicBezTo>
                  <a:lnTo>
                    <a:pt x="0" y="856498"/>
                  </a:lnTo>
                  <a:lnTo>
                    <a:pt x="0" y="651533"/>
                  </a:lnTo>
                  <a:lnTo>
                    <a:pt x="120724" y="542652"/>
                  </a:lnTo>
                  <a:cubicBezTo>
                    <a:pt x="540291" y="199303"/>
                    <a:pt x="1078562" y="-5287"/>
                    <a:pt x="1666376" y="104"/>
                  </a:cubicBezTo>
                  <a:close/>
                </a:path>
              </a:pathLst>
            </a:custGeom>
            <a:grpFill/>
            <a:ln w="69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A7760FA-C6AD-241E-9526-EFB27039811F}"/>
                </a:ext>
              </a:extLst>
            </p:cNvPr>
            <p:cNvSpPr/>
            <p:nvPr/>
          </p:nvSpPr>
          <p:spPr>
            <a:xfrm>
              <a:off x="-8318" y="3534020"/>
              <a:ext cx="4070045" cy="2711831"/>
            </a:xfrm>
            <a:custGeom>
              <a:avLst/>
              <a:gdLst>
                <a:gd name="connsiteX0" fmla="*/ 1678715 w 4070045"/>
                <a:gd name="connsiteY0" fmla="*/ 0 h 2711831"/>
                <a:gd name="connsiteX1" fmla="*/ 4057724 w 4070045"/>
                <a:gd name="connsiteY1" fmla="*/ 12322 h 2711831"/>
                <a:gd name="connsiteX2" fmla="*/ 4070045 w 4070045"/>
                <a:gd name="connsiteY2" fmla="*/ 295841 h 2711831"/>
                <a:gd name="connsiteX3" fmla="*/ 1654055 w 4070045"/>
                <a:gd name="connsiteY3" fmla="*/ 2711831 h 2711831"/>
                <a:gd name="connsiteX4" fmla="*/ 118531 w 4070045"/>
                <a:gd name="connsiteY4" fmla="*/ 2159148 h 2711831"/>
                <a:gd name="connsiteX5" fmla="*/ 0 w 4070045"/>
                <a:gd name="connsiteY5" fmla="*/ 2051387 h 2711831"/>
                <a:gd name="connsiteX6" fmla="*/ 0 w 4070045"/>
                <a:gd name="connsiteY6" fmla="*/ 1843116 h 2711831"/>
                <a:gd name="connsiteX7" fmla="*/ 53152 w 4070045"/>
                <a:gd name="connsiteY7" fmla="*/ 1901371 h 2711831"/>
                <a:gd name="connsiteX8" fmla="*/ 1654055 w 4070045"/>
                <a:gd name="connsiteY8" fmla="*/ 2563920 h 2711831"/>
                <a:gd name="connsiteX9" fmla="*/ 3922134 w 4070045"/>
                <a:gd name="connsiteY9" fmla="*/ 295841 h 2711831"/>
                <a:gd name="connsiteX10" fmla="*/ 3922134 w 4070045"/>
                <a:gd name="connsiteY10" fmla="*/ 147912 h 2711831"/>
                <a:gd name="connsiteX11" fmla="*/ 1678715 w 4070045"/>
                <a:gd name="connsiteY11" fmla="*/ 147912 h 2711831"/>
                <a:gd name="connsiteX12" fmla="*/ 1678715 w 4070045"/>
                <a:gd name="connsiteY12" fmla="*/ 0 h 2711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070045" h="2711831">
                  <a:moveTo>
                    <a:pt x="1678715" y="0"/>
                  </a:moveTo>
                  <a:lnTo>
                    <a:pt x="4057724" y="12322"/>
                  </a:lnTo>
                  <a:cubicBezTo>
                    <a:pt x="4070045" y="110947"/>
                    <a:pt x="4070045" y="197233"/>
                    <a:pt x="4070045" y="295841"/>
                  </a:cubicBezTo>
                  <a:cubicBezTo>
                    <a:pt x="4070045" y="1627095"/>
                    <a:pt x="2985327" y="2711831"/>
                    <a:pt x="1654055" y="2711831"/>
                  </a:cubicBezTo>
                  <a:cubicBezTo>
                    <a:pt x="1071631" y="2711831"/>
                    <a:pt x="536392" y="2504206"/>
                    <a:pt x="118531" y="2159148"/>
                  </a:cubicBezTo>
                  <a:lnTo>
                    <a:pt x="0" y="2051387"/>
                  </a:lnTo>
                  <a:lnTo>
                    <a:pt x="0" y="1843116"/>
                  </a:lnTo>
                  <a:lnTo>
                    <a:pt x="53152" y="1901371"/>
                  </a:lnTo>
                  <a:cubicBezTo>
                    <a:pt x="464551" y="2311227"/>
                    <a:pt x="1031571" y="2563920"/>
                    <a:pt x="1654055" y="2563920"/>
                  </a:cubicBezTo>
                  <a:cubicBezTo>
                    <a:pt x="2899041" y="2563920"/>
                    <a:pt x="3922134" y="1553149"/>
                    <a:pt x="3922134" y="295841"/>
                  </a:cubicBezTo>
                  <a:cubicBezTo>
                    <a:pt x="3922134" y="246537"/>
                    <a:pt x="3922134" y="197233"/>
                    <a:pt x="3922134" y="147912"/>
                  </a:cubicBezTo>
                  <a:lnTo>
                    <a:pt x="1678715" y="147912"/>
                  </a:lnTo>
                  <a:lnTo>
                    <a:pt x="1678715" y="0"/>
                  </a:lnTo>
                  <a:close/>
                </a:path>
              </a:pathLst>
            </a:custGeom>
            <a:grpFill/>
            <a:ln w="69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2E322DB-0FFB-3DF8-C0B6-AE6F564E2AD9}"/>
                </a:ext>
              </a:extLst>
            </p:cNvPr>
            <p:cNvSpPr/>
            <p:nvPr/>
          </p:nvSpPr>
          <p:spPr>
            <a:xfrm>
              <a:off x="67945" y="2227408"/>
              <a:ext cx="3106261" cy="3155582"/>
            </a:xfrm>
            <a:custGeom>
              <a:avLst/>
              <a:gdLst>
                <a:gd name="connsiteX0" fmla="*/ 88868 w 174958"/>
                <a:gd name="connsiteY0" fmla="*/ 9026 h 177736"/>
                <a:gd name="connsiteX1" fmla="*/ 157602 w 174958"/>
                <a:gd name="connsiteY1" fmla="*/ 47211 h 177736"/>
                <a:gd name="connsiteX2" fmla="*/ 157602 w 174958"/>
                <a:gd name="connsiteY2" fmla="*/ 47211 h 177736"/>
                <a:gd name="connsiteX3" fmla="*/ 167322 w 174958"/>
                <a:gd name="connsiteY3" fmla="*/ 47211 h 177736"/>
                <a:gd name="connsiteX4" fmla="*/ 166628 w 174958"/>
                <a:gd name="connsiteY4" fmla="*/ 45823 h 177736"/>
                <a:gd name="connsiteX5" fmla="*/ 88868 w 174958"/>
                <a:gd name="connsiteY5" fmla="*/ 0 h 177736"/>
                <a:gd name="connsiteX6" fmla="*/ 0 w 174958"/>
                <a:gd name="connsiteY6" fmla="*/ 88868 h 177736"/>
                <a:gd name="connsiteX7" fmla="*/ 88868 w 174958"/>
                <a:gd name="connsiteY7" fmla="*/ 177736 h 177736"/>
                <a:gd name="connsiteX8" fmla="*/ 174959 w 174958"/>
                <a:gd name="connsiteY8" fmla="*/ 112474 h 177736"/>
                <a:gd name="connsiteX9" fmla="*/ 174959 w 174958"/>
                <a:gd name="connsiteY9" fmla="*/ 111779 h 177736"/>
                <a:gd name="connsiteX10" fmla="*/ 90257 w 174958"/>
                <a:gd name="connsiteY10" fmla="*/ 111779 h 177736"/>
                <a:gd name="connsiteX11" fmla="*/ 90257 w 174958"/>
                <a:gd name="connsiteY11" fmla="*/ 121499 h 177736"/>
                <a:gd name="connsiteX12" fmla="*/ 163850 w 174958"/>
                <a:gd name="connsiteY12" fmla="*/ 121499 h 177736"/>
                <a:gd name="connsiteX13" fmla="*/ 89562 w 174958"/>
                <a:gd name="connsiteY13" fmla="*/ 171488 h 177736"/>
                <a:gd name="connsiteX14" fmla="*/ 8331 w 174958"/>
                <a:gd name="connsiteY14" fmla="*/ 90257 h 177736"/>
                <a:gd name="connsiteX15" fmla="*/ 88868 w 174958"/>
                <a:gd name="connsiteY15" fmla="*/ 9026 h 177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4958" h="177736">
                  <a:moveTo>
                    <a:pt x="88868" y="9026"/>
                  </a:moveTo>
                  <a:cubicBezTo>
                    <a:pt x="117334" y="9026"/>
                    <a:pt x="143022" y="23606"/>
                    <a:pt x="157602" y="47211"/>
                  </a:cubicBezTo>
                  <a:lnTo>
                    <a:pt x="157602" y="47211"/>
                  </a:lnTo>
                  <a:lnTo>
                    <a:pt x="167322" y="47211"/>
                  </a:lnTo>
                  <a:lnTo>
                    <a:pt x="166628" y="45823"/>
                  </a:lnTo>
                  <a:cubicBezTo>
                    <a:pt x="150659" y="17357"/>
                    <a:pt x="120805" y="0"/>
                    <a:pt x="88868" y="0"/>
                  </a:cubicBezTo>
                  <a:cubicBezTo>
                    <a:pt x="39574" y="0"/>
                    <a:pt x="0" y="40268"/>
                    <a:pt x="0" y="88868"/>
                  </a:cubicBezTo>
                  <a:cubicBezTo>
                    <a:pt x="0" y="137468"/>
                    <a:pt x="40268" y="177736"/>
                    <a:pt x="88868" y="177736"/>
                  </a:cubicBezTo>
                  <a:cubicBezTo>
                    <a:pt x="129136" y="177736"/>
                    <a:pt x="163850" y="150659"/>
                    <a:pt x="174959" y="112474"/>
                  </a:cubicBezTo>
                  <a:lnTo>
                    <a:pt x="174959" y="111779"/>
                  </a:lnTo>
                  <a:lnTo>
                    <a:pt x="90257" y="111779"/>
                  </a:lnTo>
                  <a:lnTo>
                    <a:pt x="90257" y="121499"/>
                  </a:lnTo>
                  <a:lnTo>
                    <a:pt x="163850" y="121499"/>
                  </a:lnTo>
                  <a:cubicBezTo>
                    <a:pt x="151353" y="152048"/>
                    <a:pt x="122194" y="171488"/>
                    <a:pt x="89562" y="171488"/>
                  </a:cubicBezTo>
                  <a:cubicBezTo>
                    <a:pt x="44434" y="171488"/>
                    <a:pt x="8331" y="134691"/>
                    <a:pt x="8331" y="90257"/>
                  </a:cubicBezTo>
                  <a:cubicBezTo>
                    <a:pt x="8331" y="45823"/>
                    <a:pt x="44434" y="9026"/>
                    <a:pt x="88868" y="9026"/>
                  </a:cubicBezTo>
                  <a:close/>
                </a:path>
              </a:pathLst>
            </a:custGeom>
            <a:grpFill/>
            <a:ln w="69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EB6BAEE-0DC9-F9EE-6DB8-F30B1C1FC02B}"/>
                </a:ext>
              </a:extLst>
            </p:cNvPr>
            <p:cNvSpPr/>
            <p:nvPr userDrawn="1"/>
          </p:nvSpPr>
          <p:spPr>
            <a:xfrm>
              <a:off x="-8318" y="1820638"/>
              <a:ext cx="3515346" cy="1257308"/>
            </a:xfrm>
            <a:custGeom>
              <a:avLst/>
              <a:gdLst>
                <a:gd name="connsiteX0" fmla="*/ 1654054 w 3515346"/>
                <a:gd name="connsiteY0" fmla="*/ 0 h 1257308"/>
                <a:gd name="connsiteX1" fmla="*/ 3503025 w 3515346"/>
                <a:gd name="connsiteY1" fmla="*/ 1244969 h 1257308"/>
                <a:gd name="connsiteX2" fmla="*/ 3515346 w 3515346"/>
                <a:gd name="connsiteY2" fmla="*/ 1257308 h 1257308"/>
                <a:gd name="connsiteX3" fmla="*/ 3355114 w 3515346"/>
                <a:gd name="connsiteY3" fmla="*/ 1257308 h 1257308"/>
                <a:gd name="connsiteX4" fmla="*/ 1666376 w 3515346"/>
                <a:gd name="connsiteY4" fmla="*/ 147911 h 1257308"/>
                <a:gd name="connsiteX5" fmla="*/ 30713 w 3515346"/>
                <a:gd name="connsiteY5" fmla="*/ 1124173 h 1257308"/>
                <a:gd name="connsiteX6" fmla="*/ 0 w 3515346"/>
                <a:gd name="connsiteY6" fmla="*/ 1187649 h 1257308"/>
                <a:gd name="connsiteX7" fmla="*/ 0 w 3515346"/>
                <a:gd name="connsiteY7" fmla="*/ 869995 h 1257308"/>
                <a:gd name="connsiteX8" fmla="*/ 103733 w 3515346"/>
                <a:gd name="connsiteY8" fmla="*/ 731288 h 1257308"/>
                <a:gd name="connsiteX9" fmla="*/ 1654054 w 3515346"/>
                <a:gd name="connsiteY9" fmla="*/ 0 h 1257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15346" h="1257308">
                  <a:moveTo>
                    <a:pt x="1654054" y="0"/>
                  </a:moveTo>
                  <a:cubicBezTo>
                    <a:pt x="2467593" y="0"/>
                    <a:pt x="3194863" y="493055"/>
                    <a:pt x="3503025" y="1244969"/>
                  </a:cubicBezTo>
                  <a:lnTo>
                    <a:pt x="3515346" y="1257308"/>
                  </a:lnTo>
                  <a:lnTo>
                    <a:pt x="3355114" y="1257308"/>
                  </a:lnTo>
                  <a:cubicBezTo>
                    <a:pt x="3059273" y="579342"/>
                    <a:pt x="2393646" y="147911"/>
                    <a:pt x="1666376" y="147911"/>
                  </a:cubicBezTo>
                  <a:cubicBezTo>
                    <a:pt x="963000" y="147911"/>
                    <a:pt x="347014" y="544100"/>
                    <a:pt x="30713" y="1124173"/>
                  </a:cubicBezTo>
                  <a:lnTo>
                    <a:pt x="0" y="1187649"/>
                  </a:lnTo>
                  <a:lnTo>
                    <a:pt x="0" y="869995"/>
                  </a:lnTo>
                  <a:lnTo>
                    <a:pt x="103733" y="731288"/>
                  </a:lnTo>
                  <a:cubicBezTo>
                    <a:pt x="472301" y="284716"/>
                    <a:pt x="1030028" y="0"/>
                    <a:pt x="165405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marL="228600" indent="-228600" algn="ctr">
                <a:buFont typeface="Arial" pitchFamily="34" charset="0"/>
                <a:buChar char="•"/>
              </a:pPr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93CE3F3C-0A45-1ACE-CEB0-0B0916ADAC56}"/>
                </a:ext>
              </a:extLst>
            </p:cNvPr>
            <p:cNvSpPr/>
            <p:nvPr userDrawn="1"/>
          </p:nvSpPr>
          <p:spPr>
            <a:xfrm>
              <a:off x="-8318" y="3891485"/>
              <a:ext cx="3650954" cy="1947596"/>
            </a:xfrm>
            <a:custGeom>
              <a:avLst/>
              <a:gdLst>
                <a:gd name="connsiteX0" fmla="*/ 1333571 w 3650954"/>
                <a:gd name="connsiteY0" fmla="*/ 0 h 1947596"/>
                <a:gd name="connsiteX1" fmla="*/ 3650954 w 3650954"/>
                <a:gd name="connsiteY1" fmla="*/ 0 h 1947596"/>
                <a:gd name="connsiteX2" fmla="*/ 3650954 w 3650954"/>
                <a:gd name="connsiteY2" fmla="*/ 12339 h 1947596"/>
                <a:gd name="connsiteX3" fmla="*/ 3046952 w 3650954"/>
                <a:gd name="connsiteY3" fmla="*/ 1380576 h 1947596"/>
                <a:gd name="connsiteX4" fmla="*/ 1654054 w 3650954"/>
                <a:gd name="connsiteY4" fmla="*/ 1947596 h 1947596"/>
                <a:gd name="connsiteX5" fmla="*/ 103733 w 3650954"/>
                <a:gd name="connsiteY5" fmla="*/ 1216308 h 1947596"/>
                <a:gd name="connsiteX6" fmla="*/ 0 w 3650954"/>
                <a:gd name="connsiteY6" fmla="*/ 1077603 h 1947596"/>
                <a:gd name="connsiteX7" fmla="*/ 0 w 3650954"/>
                <a:gd name="connsiteY7" fmla="*/ 759947 h 1947596"/>
                <a:gd name="connsiteX8" fmla="*/ 30713 w 3650954"/>
                <a:gd name="connsiteY8" fmla="*/ 823423 h 1947596"/>
                <a:gd name="connsiteX9" fmla="*/ 1666376 w 3650954"/>
                <a:gd name="connsiteY9" fmla="*/ 1799685 h 1947596"/>
                <a:gd name="connsiteX10" fmla="*/ 2911362 w 3650954"/>
                <a:gd name="connsiteY10" fmla="*/ 1318951 h 1947596"/>
                <a:gd name="connsiteX11" fmla="*/ 3503025 w 3650954"/>
                <a:gd name="connsiteY11" fmla="*/ 147929 h 1947596"/>
                <a:gd name="connsiteX12" fmla="*/ 1333571 w 3650954"/>
                <a:gd name="connsiteY12" fmla="*/ 147929 h 1947596"/>
                <a:gd name="connsiteX13" fmla="*/ 1333571 w 3650954"/>
                <a:gd name="connsiteY13" fmla="*/ 0 h 1947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50954" h="1947596">
                  <a:moveTo>
                    <a:pt x="1333571" y="0"/>
                  </a:moveTo>
                  <a:lnTo>
                    <a:pt x="3650954" y="0"/>
                  </a:lnTo>
                  <a:lnTo>
                    <a:pt x="3650954" y="12339"/>
                  </a:lnTo>
                  <a:cubicBezTo>
                    <a:pt x="3638615" y="530055"/>
                    <a:pt x="3416739" y="1010789"/>
                    <a:pt x="3046952" y="1380576"/>
                  </a:cubicBezTo>
                  <a:cubicBezTo>
                    <a:pt x="2677147" y="1750363"/>
                    <a:pt x="2171770" y="1947596"/>
                    <a:pt x="1654054" y="1947596"/>
                  </a:cubicBezTo>
                  <a:cubicBezTo>
                    <a:pt x="1030028" y="1947596"/>
                    <a:pt x="472301" y="1662880"/>
                    <a:pt x="103733" y="1216308"/>
                  </a:cubicBezTo>
                  <a:lnTo>
                    <a:pt x="0" y="1077603"/>
                  </a:lnTo>
                  <a:lnTo>
                    <a:pt x="0" y="759947"/>
                  </a:lnTo>
                  <a:lnTo>
                    <a:pt x="30713" y="823423"/>
                  </a:lnTo>
                  <a:cubicBezTo>
                    <a:pt x="347014" y="1403496"/>
                    <a:pt x="963000" y="1799685"/>
                    <a:pt x="1666376" y="1799685"/>
                  </a:cubicBezTo>
                  <a:cubicBezTo>
                    <a:pt x="2122467" y="1799685"/>
                    <a:pt x="2566218" y="1627113"/>
                    <a:pt x="2911362" y="1318951"/>
                  </a:cubicBezTo>
                  <a:cubicBezTo>
                    <a:pt x="3244167" y="1010789"/>
                    <a:pt x="3453721" y="604002"/>
                    <a:pt x="3503025" y="147929"/>
                  </a:cubicBezTo>
                  <a:lnTo>
                    <a:pt x="1333571" y="147929"/>
                  </a:lnTo>
                  <a:lnTo>
                    <a:pt x="1333571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marL="228600" indent="-228600" algn="ctr">
                <a:buFont typeface="Arial" pitchFamily="34" charset="0"/>
                <a:buChar char="•"/>
              </a:pPr>
              <a:endParaRPr lang="en-GB" sz="14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1162279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_WB 2011 Body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o not remove" hidden="1">
            <a:extLst>
              <a:ext uri="{FF2B5EF4-FFF2-40B4-BE49-F238E27FC236}">
                <a16:creationId xmlns:a16="http://schemas.microsoft.com/office/drawing/2014/main" id="{49498092-8C7B-C253-9EF5-84C119C1CB81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0" rIns="45720" bIns="0" rtlCol="0" anchor="ctr" anchorCtr="0"/>
          <a:lstStyle/>
          <a:p>
            <a:pPr algn="ctr"/>
            <a:endParaRPr lang="en-US" sz="1100" b="1">
              <a:solidFill>
                <a:schemeClr val="accent2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567EE53-A34B-7B8C-D184-C34FEA2CC1D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228600" indent="-228600" algn="ctr">
              <a:buFont typeface="Arial" pitchFamily="34" charset="0"/>
              <a:buChar char="•"/>
            </a:pPr>
            <a:endParaRPr lang="en-US" sz="1400">
              <a:solidFill>
                <a:schemeClr val="tx1"/>
              </a:solidFill>
              <a:latin typeface="Roboto" panose="02000000000000000000" pitchFamily="2" charset="0"/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94267" y="304801"/>
            <a:ext cx="10786533" cy="426021"/>
          </a:xfrm>
          <a:prstGeom prst="rect">
            <a:avLst/>
          </a:prstGeom>
        </p:spPr>
        <p:txBody>
          <a:bodyPr vert="horz" wrap="none" lIns="0" tIns="0" rIns="0" bIns="45720" rtlCol="0" anchor="b" anchorCtr="0">
            <a:noAutofit/>
          </a:bodyPr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[Body Page]</a:t>
            </a: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E980C48D-0CF6-70F8-39BE-6E4611D2F7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4944" y="819913"/>
            <a:ext cx="10785856" cy="294513"/>
          </a:xfrm>
          <a:prstGeom prst="rect">
            <a:avLst/>
          </a:prstGeom>
        </p:spPr>
        <p:txBody>
          <a:bodyPr wrap="square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lang="en-US" sz="1400" b="0" i="1" kern="1200" baseline="0" dirty="0">
                <a:solidFill>
                  <a:schemeClr val="bg1"/>
                </a:solidFill>
                <a:latin typeface="+mn-lt"/>
                <a:ea typeface="ＭＳ Ｐゴシック" pitchFamily="29" charset="-128"/>
                <a:cs typeface="Times New Roman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914164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</a:pPr>
            <a:r>
              <a:rPr lang="en-US"/>
              <a:t>Edit master text styles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5BA4E61D-FA8E-4199-F996-F8746D7BB8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15127" y="6475502"/>
            <a:ext cx="7514364" cy="294513"/>
          </a:xfrm>
          <a:prstGeom prst="rect">
            <a:avLst/>
          </a:prstGeom>
        </p:spPr>
        <p:txBody>
          <a:bodyPr wrap="square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lang="en-US" sz="700" b="0" i="0" kern="1200" baseline="0" dirty="0">
                <a:solidFill>
                  <a:schemeClr val="bg1"/>
                </a:solidFill>
                <a:latin typeface="+mn-lt"/>
                <a:ea typeface="ＭＳ Ｐゴシック" pitchFamily="29" charset="-128"/>
                <a:cs typeface="Times New Roman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914164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</a:pPr>
            <a:r>
              <a:rPr lang="en-US"/>
              <a:t>Edit master text style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D0A8159-1684-90E5-5D31-1403A89C4C68}"/>
              </a:ext>
            </a:extLst>
          </p:cNvPr>
          <p:cNvGrpSpPr/>
          <p:nvPr userDrawn="1"/>
        </p:nvGrpSpPr>
        <p:grpSpPr>
          <a:xfrm>
            <a:off x="-8318" y="1426088"/>
            <a:ext cx="4070045" cy="4819763"/>
            <a:chOff x="-8318" y="1426088"/>
            <a:chExt cx="4070045" cy="4819763"/>
          </a:xfrm>
          <a:solidFill>
            <a:schemeClr val="bg1">
              <a:alpha val="2000"/>
            </a:schemeClr>
          </a:soli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5BCF7C38-4DFC-BD23-F976-A3546DDE3F07}"/>
                </a:ext>
              </a:extLst>
            </p:cNvPr>
            <p:cNvSpPr/>
            <p:nvPr/>
          </p:nvSpPr>
          <p:spPr>
            <a:xfrm>
              <a:off x="-8318" y="1426088"/>
              <a:ext cx="3959116" cy="1664181"/>
            </a:xfrm>
            <a:custGeom>
              <a:avLst/>
              <a:gdLst>
                <a:gd name="connsiteX0" fmla="*/ 1666376 w 3959116"/>
                <a:gd name="connsiteY0" fmla="*/ 104 h 1664181"/>
                <a:gd name="connsiteX1" fmla="*/ 3959116 w 3959116"/>
                <a:gd name="connsiteY1" fmla="*/ 1651859 h 1664181"/>
                <a:gd name="connsiteX2" fmla="*/ 3959116 w 3959116"/>
                <a:gd name="connsiteY2" fmla="*/ 1664181 h 1664181"/>
                <a:gd name="connsiteX3" fmla="*/ 3798866 w 3959116"/>
                <a:gd name="connsiteY3" fmla="*/ 1664181 h 1664181"/>
                <a:gd name="connsiteX4" fmla="*/ 3798866 w 3959116"/>
                <a:gd name="connsiteY4" fmla="*/ 1651859 h 1664181"/>
                <a:gd name="connsiteX5" fmla="*/ 1654055 w 3959116"/>
                <a:gd name="connsiteY5" fmla="*/ 135693 h 1664181"/>
                <a:gd name="connsiteX6" fmla="*/ 53152 w 3959116"/>
                <a:gd name="connsiteY6" fmla="*/ 798243 h 1664181"/>
                <a:gd name="connsiteX7" fmla="*/ 0 w 3959116"/>
                <a:gd name="connsiteY7" fmla="*/ 856498 h 1664181"/>
                <a:gd name="connsiteX8" fmla="*/ 0 w 3959116"/>
                <a:gd name="connsiteY8" fmla="*/ 651533 h 1664181"/>
                <a:gd name="connsiteX9" fmla="*/ 120724 w 3959116"/>
                <a:gd name="connsiteY9" fmla="*/ 542652 h 1664181"/>
                <a:gd name="connsiteX10" fmla="*/ 1666376 w 3959116"/>
                <a:gd name="connsiteY10" fmla="*/ 104 h 1664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59116" h="1664181">
                  <a:moveTo>
                    <a:pt x="1666376" y="104"/>
                  </a:moveTo>
                  <a:cubicBezTo>
                    <a:pt x="2701808" y="104"/>
                    <a:pt x="3626294" y="665731"/>
                    <a:pt x="3959116" y="1651859"/>
                  </a:cubicBezTo>
                  <a:lnTo>
                    <a:pt x="3959116" y="1664181"/>
                  </a:lnTo>
                  <a:lnTo>
                    <a:pt x="3798866" y="1664181"/>
                  </a:lnTo>
                  <a:lnTo>
                    <a:pt x="3798866" y="1651859"/>
                  </a:lnTo>
                  <a:cubicBezTo>
                    <a:pt x="3478382" y="739696"/>
                    <a:pt x="2615522" y="135693"/>
                    <a:pt x="1654055" y="135693"/>
                  </a:cubicBezTo>
                  <a:cubicBezTo>
                    <a:pt x="1031571" y="135693"/>
                    <a:pt x="464551" y="388386"/>
                    <a:pt x="53152" y="798243"/>
                  </a:cubicBezTo>
                  <a:lnTo>
                    <a:pt x="0" y="856498"/>
                  </a:lnTo>
                  <a:lnTo>
                    <a:pt x="0" y="651533"/>
                  </a:lnTo>
                  <a:lnTo>
                    <a:pt x="120724" y="542652"/>
                  </a:lnTo>
                  <a:cubicBezTo>
                    <a:pt x="540291" y="199303"/>
                    <a:pt x="1078562" y="-5287"/>
                    <a:pt x="1666376" y="104"/>
                  </a:cubicBezTo>
                  <a:close/>
                </a:path>
              </a:pathLst>
            </a:custGeom>
            <a:grpFill/>
            <a:ln w="69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A7760FA-C6AD-241E-9526-EFB27039811F}"/>
                </a:ext>
              </a:extLst>
            </p:cNvPr>
            <p:cNvSpPr/>
            <p:nvPr/>
          </p:nvSpPr>
          <p:spPr>
            <a:xfrm>
              <a:off x="-8318" y="3534020"/>
              <a:ext cx="4070045" cy="2711831"/>
            </a:xfrm>
            <a:custGeom>
              <a:avLst/>
              <a:gdLst>
                <a:gd name="connsiteX0" fmla="*/ 1678715 w 4070045"/>
                <a:gd name="connsiteY0" fmla="*/ 0 h 2711831"/>
                <a:gd name="connsiteX1" fmla="*/ 4057724 w 4070045"/>
                <a:gd name="connsiteY1" fmla="*/ 12322 h 2711831"/>
                <a:gd name="connsiteX2" fmla="*/ 4070045 w 4070045"/>
                <a:gd name="connsiteY2" fmla="*/ 295841 h 2711831"/>
                <a:gd name="connsiteX3" fmla="*/ 1654055 w 4070045"/>
                <a:gd name="connsiteY3" fmla="*/ 2711831 h 2711831"/>
                <a:gd name="connsiteX4" fmla="*/ 118531 w 4070045"/>
                <a:gd name="connsiteY4" fmla="*/ 2159148 h 2711831"/>
                <a:gd name="connsiteX5" fmla="*/ 0 w 4070045"/>
                <a:gd name="connsiteY5" fmla="*/ 2051387 h 2711831"/>
                <a:gd name="connsiteX6" fmla="*/ 0 w 4070045"/>
                <a:gd name="connsiteY6" fmla="*/ 1843116 h 2711831"/>
                <a:gd name="connsiteX7" fmla="*/ 53152 w 4070045"/>
                <a:gd name="connsiteY7" fmla="*/ 1901371 h 2711831"/>
                <a:gd name="connsiteX8" fmla="*/ 1654055 w 4070045"/>
                <a:gd name="connsiteY8" fmla="*/ 2563920 h 2711831"/>
                <a:gd name="connsiteX9" fmla="*/ 3922134 w 4070045"/>
                <a:gd name="connsiteY9" fmla="*/ 295841 h 2711831"/>
                <a:gd name="connsiteX10" fmla="*/ 3922134 w 4070045"/>
                <a:gd name="connsiteY10" fmla="*/ 147912 h 2711831"/>
                <a:gd name="connsiteX11" fmla="*/ 1678715 w 4070045"/>
                <a:gd name="connsiteY11" fmla="*/ 147912 h 2711831"/>
                <a:gd name="connsiteX12" fmla="*/ 1678715 w 4070045"/>
                <a:gd name="connsiteY12" fmla="*/ 0 h 2711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070045" h="2711831">
                  <a:moveTo>
                    <a:pt x="1678715" y="0"/>
                  </a:moveTo>
                  <a:lnTo>
                    <a:pt x="4057724" y="12322"/>
                  </a:lnTo>
                  <a:cubicBezTo>
                    <a:pt x="4070045" y="110947"/>
                    <a:pt x="4070045" y="197233"/>
                    <a:pt x="4070045" y="295841"/>
                  </a:cubicBezTo>
                  <a:cubicBezTo>
                    <a:pt x="4070045" y="1627095"/>
                    <a:pt x="2985327" y="2711831"/>
                    <a:pt x="1654055" y="2711831"/>
                  </a:cubicBezTo>
                  <a:cubicBezTo>
                    <a:pt x="1071631" y="2711831"/>
                    <a:pt x="536392" y="2504206"/>
                    <a:pt x="118531" y="2159148"/>
                  </a:cubicBezTo>
                  <a:lnTo>
                    <a:pt x="0" y="2051387"/>
                  </a:lnTo>
                  <a:lnTo>
                    <a:pt x="0" y="1843116"/>
                  </a:lnTo>
                  <a:lnTo>
                    <a:pt x="53152" y="1901371"/>
                  </a:lnTo>
                  <a:cubicBezTo>
                    <a:pt x="464551" y="2311227"/>
                    <a:pt x="1031571" y="2563920"/>
                    <a:pt x="1654055" y="2563920"/>
                  </a:cubicBezTo>
                  <a:cubicBezTo>
                    <a:pt x="2899041" y="2563920"/>
                    <a:pt x="3922134" y="1553149"/>
                    <a:pt x="3922134" y="295841"/>
                  </a:cubicBezTo>
                  <a:cubicBezTo>
                    <a:pt x="3922134" y="246537"/>
                    <a:pt x="3922134" y="197233"/>
                    <a:pt x="3922134" y="147912"/>
                  </a:cubicBezTo>
                  <a:lnTo>
                    <a:pt x="1678715" y="147912"/>
                  </a:lnTo>
                  <a:lnTo>
                    <a:pt x="1678715" y="0"/>
                  </a:lnTo>
                  <a:close/>
                </a:path>
              </a:pathLst>
            </a:custGeom>
            <a:grpFill/>
            <a:ln w="69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2E322DB-0FFB-3DF8-C0B6-AE6F564E2AD9}"/>
                </a:ext>
              </a:extLst>
            </p:cNvPr>
            <p:cNvSpPr/>
            <p:nvPr/>
          </p:nvSpPr>
          <p:spPr>
            <a:xfrm>
              <a:off x="67945" y="2227408"/>
              <a:ext cx="3106261" cy="3155582"/>
            </a:xfrm>
            <a:custGeom>
              <a:avLst/>
              <a:gdLst>
                <a:gd name="connsiteX0" fmla="*/ 88868 w 174958"/>
                <a:gd name="connsiteY0" fmla="*/ 9026 h 177736"/>
                <a:gd name="connsiteX1" fmla="*/ 157602 w 174958"/>
                <a:gd name="connsiteY1" fmla="*/ 47211 h 177736"/>
                <a:gd name="connsiteX2" fmla="*/ 157602 w 174958"/>
                <a:gd name="connsiteY2" fmla="*/ 47211 h 177736"/>
                <a:gd name="connsiteX3" fmla="*/ 167322 w 174958"/>
                <a:gd name="connsiteY3" fmla="*/ 47211 h 177736"/>
                <a:gd name="connsiteX4" fmla="*/ 166628 w 174958"/>
                <a:gd name="connsiteY4" fmla="*/ 45823 h 177736"/>
                <a:gd name="connsiteX5" fmla="*/ 88868 w 174958"/>
                <a:gd name="connsiteY5" fmla="*/ 0 h 177736"/>
                <a:gd name="connsiteX6" fmla="*/ 0 w 174958"/>
                <a:gd name="connsiteY6" fmla="*/ 88868 h 177736"/>
                <a:gd name="connsiteX7" fmla="*/ 88868 w 174958"/>
                <a:gd name="connsiteY7" fmla="*/ 177736 h 177736"/>
                <a:gd name="connsiteX8" fmla="*/ 174959 w 174958"/>
                <a:gd name="connsiteY8" fmla="*/ 112474 h 177736"/>
                <a:gd name="connsiteX9" fmla="*/ 174959 w 174958"/>
                <a:gd name="connsiteY9" fmla="*/ 111779 h 177736"/>
                <a:gd name="connsiteX10" fmla="*/ 90257 w 174958"/>
                <a:gd name="connsiteY10" fmla="*/ 111779 h 177736"/>
                <a:gd name="connsiteX11" fmla="*/ 90257 w 174958"/>
                <a:gd name="connsiteY11" fmla="*/ 121499 h 177736"/>
                <a:gd name="connsiteX12" fmla="*/ 163850 w 174958"/>
                <a:gd name="connsiteY12" fmla="*/ 121499 h 177736"/>
                <a:gd name="connsiteX13" fmla="*/ 89562 w 174958"/>
                <a:gd name="connsiteY13" fmla="*/ 171488 h 177736"/>
                <a:gd name="connsiteX14" fmla="*/ 8331 w 174958"/>
                <a:gd name="connsiteY14" fmla="*/ 90257 h 177736"/>
                <a:gd name="connsiteX15" fmla="*/ 88868 w 174958"/>
                <a:gd name="connsiteY15" fmla="*/ 9026 h 177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4958" h="177736">
                  <a:moveTo>
                    <a:pt x="88868" y="9026"/>
                  </a:moveTo>
                  <a:cubicBezTo>
                    <a:pt x="117334" y="9026"/>
                    <a:pt x="143022" y="23606"/>
                    <a:pt x="157602" y="47211"/>
                  </a:cubicBezTo>
                  <a:lnTo>
                    <a:pt x="157602" y="47211"/>
                  </a:lnTo>
                  <a:lnTo>
                    <a:pt x="167322" y="47211"/>
                  </a:lnTo>
                  <a:lnTo>
                    <a:pt x="166628" y="45823"/>
                  </a:lnTo>
                  <a:cubicBezTo>
                    <a:pt x="150659" y="17357"/>
                    <a:pt x="120805" y="0"/>
                    <a:pt x="88868" y="0"/>
                  </a:cubicBezTo>
                  <a:cubicBezTo>
                    <a:pt x="39574" y="0"/>
                    <a:pt x="0" y="40268"/>
                    <a:pt x="0" y="88868"/>
                  </a:cubicBezTo>
                  <a:cubicBezTo>
                    <a:pt x="0" y="137468"/>
                    <a:pt x="40268" y="177736"/>
                    <a:pt x="88868" y="177736"/>
                  </a:cubicBezTo>
                  <a:cubicBezTo>
                    <a:pt x="129136" y="177736"/>
                    <a:pt x="163850" y="150659"/>
                    <a:pt x="174959" y="112474"/>
                  </a:cubicBezTo>
                  <a:lnTo>
                    <a:pt x="174959" y="111779"/>
                  </a:lnTo>
                  <a:lnTo>
                    <a:pt x="90257" y="111779"/>
                  </a:lnTo>
                  <a:lnTo>
                    <a:pt x="90257" y="121499"/>
                  </a:lnTo>
                  <a:lnTo>
                    <a:pt x="163850" y="121499"/>
                  </a:lnTo>
                  <a:cubicBezTo>
                    <a:pt x="151353" y="152048"/>
                    <a:pt x="122194" y="171488"/>
                    <a:pt x="89562" y="171488"/>
                  </a:cubicBezTo>
                  <a:cubicBezTo>
                    <a:pt x="44434" y="171488"/>
                    <a:pt x="8331" y="134691"/>
                    <a:pt x="8331" y="90257"/>
                  </a:cubicBezTo>
                  <a:cubicBezTo>
                    <a:pt x="8331" y="45823"/>
                    <a:pt x="44434" y="9026"/>
                    <a:pt x="88868" y="9026"/>
                  </a:cubicBezTo>
                  <a:close/>
                </a:path>
              </a:pathLst>
            </a:custGeom>
            <a:grpFill/>
            <a:ln w="69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EB6BAEE-0DC9-F9EE-6DB8-F30B1C1FC02B}"/>
                </a:ext>
              </a:extLst>
            </p:cNvPr>
            <p:cNvSpPr/>
            <p:nvPr userDrawn="1"/>
          </p:nvSpPr>
          <p:spPr>
            <a:xfrm>
              <a:off x="-8318" y="1820638"/>
              <a:ext cx="3515346" cy="1257308"/>
            </a:xfrm>
            <a:custGeom>
              <a:avLst/>
              <a:gdLst>
                <a:gd name="connsiteX0" fmla="*/ 1654054 w 3515346"/>
                <a:gd name="connsiteY0" fmla="*/ 0 h 1257308"/>
                <a:gd name="connsiteX1" fmla="*/ 3503025 w 3515346"/>
                <a:gd name="connsiteY1" fmla="*/ 1244969 h 1257308"/>
                <a:gd name="connsiteX2" fmla="*/ 3515346 w 3515346"/>
                <a:gd name="connsiteY2" fmla="*/ 1257308 h 1257308"/>
                <a:gd name="connsiteX3" fmla="*/ 3355114 w 3515346"/>
                <a:gd name="connsiteY3" fmla="*/ 1257308 h 1257308"/>
                <a:gd name="connsiteX4" fmla="*/ 1666376 w 3515346"/>
                <a:gd name="connsiteY4" fmla="*/ 147911 h 1257308"/>
                <a:gd name="connsiteX5" fmla="*/ 30713 w 3515346"/>
                <a:gd name="connsiteY5" fmla="*/ 1124173 h 1257308"/>
                <a:gd name="connsiteX6" fmla="*/ 0 w 3515346"/>
                <a:gd name="connsiteY6" fmla="*/ 1187649 h 1257308"/>
                <a:gd name="connsiteX7" fmla="*/ 0 w 3515346"/>
                <a:gd name="connsiteY7" fmla="*/ 869995 h 1257308"/>
                <a:gd name="connsiteX8" fmla="*/ 103733 w 3515346"/>
                <a:gd name="connsiteY8" fmla="*/ 731288 h 1257308"/>
                <a:gd name="connsiteX9" fmla="*/ 1654054 w 3515346"/>
                <a:gd name="connsiteY9" fmla="*/ 0 h 1257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15346" h="1257308">
                  <a:moveTo>
                    <a:pt x="1654054" y="0"/>
                  </a:moveTo>
                  <a:cubicBezTo>
                    <a:pt x="2467593" y="0"/>
                    <a:pt x="3194863" y="493055"/>
                    <a:pt x="3503025" y="1244969"/>
                  </a:cubicBezTo>
                  <a:lnTo>
                    <a:pt x="3515346" y="1257308"/>
                  </a:lnTo>
                  <a:lnTo>
                    <a:pt x="3355114" y="1257308"/>
                  </a:lnTo>
                  <a:cubicBezTo>
                    <a:pt x="3059273" y="579342"/>
                    <a:pt x="2393646" y="147911"/>
                    <a:pt x="1666376" y="147911"/>
                  </a:cubicBezTo>
                  <a:cubicBezTo>
                    <a:pt x="963000" y="147911"/>
                    <a:pt x="347014" y="544100"/>
                    <a:pt x="30713" y="1124173"/>
                  </a:cubicBezTo>
                  <a:lnTo>
                    <a:pt x="0" y="1187649"/>
                  </a:lnTo>
                  <a:lnTo>
                    <a:pt x="0" y="869995"/>
                  </a:lnTo>
                  <a:lnTo>
                    <a:pt x="103733" y="731288"/>
                  </a:lnTo>
                  <a:cubicBezTo>
                    <a:pt x="472301" y="284716"/>
                    <a:pt x="1030028" y="0"/>
                    <a:pt x="165405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marL="228600" indent="-228600" algn="ctr">
                <a:buFont typeface="Arial" pitchFamily="34" charset="0"/>
                <a:buChar char="•"/>
              </a:pPr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93CE3F3C-0A45-1ACE-CEB0-0B0916ADAC56}"/>
                </a:ext>
              </a:extLst>
            </p:cNvPr>
            <p:cNvSpPr/>
            <p:nvPr userDrawn="1"/>
          </p:nvSpPr>
          <p:spPr>
            <a:xfrm>
              <a:off x="-8318" y="3891485"/>
              <a:ext cx="3650954" cy="1947596"/>
            </a:xfrm>
            <a:custGeom>
              <a:avLst/>
              <a:gdLst>
                <a:gd name="connsiteX0" fmla="*/ 1333571 w 3650954"/>
                <a:gd name="connsiteY0" fmla="*/ 0 h 1947596"/>
                <a:gd name="connsiteX1" fmla="*/ 3650954 w 3650954"/>
                <a:gd name="connsiteY1" fmla="*/ 0 h 1947596"/>
                <a:gd name="connsiteX2" fmla="*/ 3650954 w 3650954"/>
                <a:gd name="connsiteY2" fmla="*/ 12339 h 1947596"/>
                <a:gd name="connsiteX3" fmla="*/ 3046952 w 3650954"/>
                <a:gd name="connsiteY3" fmla="*/ 1380576 h 1947596"/>
                <a:gd name="connsiteX4" fmla="*/ 1654054 w 3650954"/>
                <a:gd name="connsiteY4" fmla="*/ 1947596 h 1947596"/>
                <a:gd name="connsiteX5" fmla="*/ 103733 w 3650954"/>
                <a:gd name="connsiteY5" fmla="*/ 1216308 h 1947596"/>
                <a:gd name="connsiteX6" fmla="*/ 0 w 3650954"/>
                <a:gd name="connsiteY6" fmla="*/ 1077603 h 1947596"/>
                <a:gd name="connsiteX7" fmla="*/ 0 w 3650954"/>
                <a:gd name="connsiteY7" fmla="*/ 759947 h 1947596"/>
                <a:gd name="connsiteX8" fmla="*/ 30713 w 3650954"/>
                <a:gd name="connsiteY8" fmla="*/ 823423 h 1947596"/>
                <a:gd name="connsiteX9" fmla="*/ 1666376 w 3650954"/>
                <a:gd name="connsiteY9" fmla="*/ 1799685 h 1947596"/>
                <a:gd name="connsiteX10" fmla="*/ 2911362 w 3650954"/>
                <a:gd name="connsiteY10" fmla="*/ 1318951 h 1947596"/>
                <a:gd name="connsiteX11" fmla="*/ 3503025 w 3650954"/>
                <a:gd name="connsiteY11" fmla="*/ 147929 h 1947596"/>
                <a:gd name="connsiteX12" fmla="*/ 1333571 w 3650954"/>
                <a:gd name="connsiteY12" fmla="*/ 147929 h 1947596"/>
                <a:gd name="connsiteX13" fmla="*/ 1333571 w 3650954"/>
                <a:gd name="connsiteY13" fmla="*/ 0 h 1947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50954" h="1947596">
                  <a:moveTo>
                    <a:pt x="1333571" y="0"/>
                  </a:moveTo>
                  <a:lnTo>
                    <a:pt x="3650954" y="0"/>
                  </a:lnTo>
                  <a:lnTo>
                    <a:pt x="3650954" y="12339"/>
                  </a:lnTo>
                  <a:cubicBezTo>
                    <a:pt x="3638615" y="530055"/>
                    <a:pt x="3416739" y="1010789"/>
                    <a:pt x="3046952" y="1380576"/>
                  </a:cubicBezTo>
                  <a:cubicBezTo>
                    <a:pt x="2677147" y="1750363"/>
                    <a:pt x="2171770" y="1947596"/>
                    <a:pt x="1654054" y="1947596"/>
                  </a:cubicBezTo>
                  <a:cubicBezTo>
                    <a:pt x="1030028" y="1947596"/>
                    <a:pt x="472301" y="1662880"/>
                    <a:pt x="103733" y="1216308"/>
                  </a:cubicBezTo>
                  <a:lnTo>
                    <a:pt x="0" y="1077603"/>
                  </a:lnTo>
                  <a:lnTo>
                    <a:pt x="0" y="759947"/>
                  </a:lnTo>
                  <a:lnTo>
                    <a:pt x="30713" y="823423"/>
                  </a:lnTo>
                  <a:cubicBezTo>
                    <a:pt x="347014" y="1403496"/>
                    <a:pt x="963000" y="1799685"/>
                    <a:pt x="1666376" y="1799685"/>
                  </a:cubicBezTo>
                  <a:cubicBezTo>
                    <a:pt x="2122467" y="1799685"/>
                    <a:pt x="2566218" y="1627113"/>
                    <a:pt x="2911362" y="1318951"/>
                  </a:cubicBezTo>
                  <a:cubicBezTo>
                    <a:pt x="3244167" y="1010789"/>
                    <a:pt x="3453721" y="604002"/>
                    <a:pt x="3503025" y="147929"/>
                  </a:cubicBezTo>
                  <a:lnTo>
                    <a:pt x="1333571" y="147929"/>
                  </a:lnTo>
                  <a:lnTo>
                    <a:pt x="1333571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marL="228600" indent="-228600" algn="ctr">
                <a:buFont typeface="Arial" pitchFamily="34" charset="0"/>
                <a:buChar char="•"/>
              </a:pPr>
              <a:endParaRPr lang="en-GB" sz="1400">
                <a:solidFill>
                  <a:schemeClr val="tx1"/>
                </a:solidFill>
              </a:endParaRPr>
            </a:p>
          </p:txBody>
        </p:sp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CB17C9D-C4A9-41DB-0648-7AB35AA929FD}"/>
              </a:ext>
            </a:extLst>
          </p:cNvPr>
          <p:cNvCxnSpPr>
            <a:cxnSpLocks/>
          </p:cNvCxnSpPr>
          <p:nvPr userDrawn="1"/>
        </p:nvCxnSpPr>
        <p:spPr>
          <a:xfrm>
            <a:off x="11267246" y="6516669"/>
            <a:ext cx="0" cy="252331"/>
          </a:xfrm>
          <a:prstGeom prst="line">
            <a:avLst/>
          </a:prstGeom>
          <a:ln w="19050">
            <a:solidFill>
              <a:schemeClr val="bg1">
                <a:alpha val="85000"/>
              </a:schemeClr>
            </a:solidFill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phic 5">
            <a:extLst>
              <a:ext uri="{FF2B5EF4-FFF2-40B4-BE49-F238E27FC236}">
                <a16:creationId xmlns:a16="http://schemas.microsoft.com/office/drawing/2014/main" id="{9256EBC2-897A-E99A-04F2-2DEA68F5D91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788801" y="6507449"/>
            <a:ext cx="1319135" cy="27077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DED1B02-B3A3-6BBA-BC22-EC6303ADC43F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11132742" y="6565890"/>
            <a:ext cx="40975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 defTabSz="914164" rtl="0" eaLnBrk="1" latinLnBrk="0" hangingPunct="1">
              <a:buFont typeface="Arial" pitchFamily="34" charset="0"/>
              <a:buNone/>
            </a:pPr>
            <a:fld id="{790FC2AF-B194-488D-8ACC-F2E58C812CDE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indent="0" algn="r" defTabSz="914164" rtl="0" eaLnBrk="1" latinLnBrk="0" hangingPunct="1">
                <a:buFont typeface="Arial" pitchFamily="34" charset="0"/>
                <a:buNone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7" name="Picture 16" descr="WB_Final_approved.png">
            <a:extLst>
              <a:ext uri="{FF2B5EF4-FFF2-40B4-BE49-F238E27FC236}">
                <a16:creationId xmlns:a16="http://schemas.microsoft.com/office/drawing/2014/main" id="{A2385F3A-CD22-3D25-0172-D3250CBA7467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7" cstate="print">
            <a:lum bright="70000" contrast="-70000"/>
          </a:blip>
          <a:stretch>
            <a:fillRect/>
          </a:stretch>
        </p:blipFill>
        <p:spPr>
          <a:xfrm>
            <a:off x="329941" y="6605996"/>
            <a:ext cx="744618" cy="13446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974BA53-7AB0-9B60-97BC-676057DDD8F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1110835" y="6620158"/>
            <a:ext cx="493685" cy="106142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BA5A6E3-41E6-CC6B-4557-F5B0D8A9F45B}"/>
              </a:ext>
            </a:extLst>
          </p:cNvPr>
          <p:cNvCxnSpPr>
            <a:cxnSpLocks/>
          </p:cNvCxnSpPr>
          <p:nvPr userDrawn="1"/>
        </p:nvCxnSpPr>
        <p:spPr>
          <a:xfrm>
            <a:off x="692908" y="731520"/>
            <a:ext cx="10800080" cy="0"/>
          </a:xfrm>
          <a:prstGeom prst="line">
            <a:avLst/>
          </a:prstGeom>
          <a:ln w="38100">
            <a:solidFill>
              <a:schemeClr val="bg1"/>
            </a:solidFill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9892758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_WB 2011 Primary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A3987F5-1E03-9785-B148-975E208A653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  <p:custDataLst>
              <p:tags r:id="rId1"/>
            </p:custDataLst>
          </p:nvPr>
        </p:nvSpPr>
        <p:spPr>
          <a:xfrm>
            <a:off x="6804683" y="4097954"/>
            <a:ext cx="4874374" cy="6318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lnSpc>
                <a:spcPts val="2800"/>
              </a:lnSpc>
              <a:defRPr sz="2400" b="1" cap="none" baseline="0">
                <a:solidFill>
                  <a:schemeClr val="bg1"/>
                </a:solidFill>
                <a:latin typeface="Century Gothic" panose="020B0502020202020204" pitchFamily="34" charset="0"/>
                <a:ea typeface="Open Sans SemiBold" panose="020B0706030804020204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[Title]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57C3B4E-2FD6-9CBB-6922-E81A51AA85E1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8597331" y="4984271"/>
            <a:ext cx="3081726" cy="3302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r">
              <a:lnSpc>
                <a:spcPct val="100000"/>
              </a:lnSpc>
              <a:buNone/>
              <a:defRPr sz="1600" b="0" i="0" baseline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Tahoma" panose="020B0604030504040204" pitchFamily="34" charset="0"/>
              </a:defRPr>
            </a:lvl1pPr>
            <a:lvl2pPr marL="457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5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[Date]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9B9BA2F7-81A3-9D9C-0F56-39613B2CE29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86260" y="6124854"/>
            <a:ext cx="1292797" cy="231427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8B218A4D-FF8A-ECF9-1810-D0B8E906472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21111" y="4025225"/>
            <a:ext cx="5962461" cy="122222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4FD479F-CBB9-5126-98EF-524D91FC9E9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620797" y="6408190"/>
            <a:ext cx="1058260" cy="227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385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0921E300-150A-3068-6A92-48686570DDC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9280" y="195821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082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Name</a:t>
            </a:r>
          </a:p>
          <a:p>
            <a:pPr lvl="1"/>
            <a:r>
              <a:rPr lang="en-US"/>
              <a:t>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BC5667FC-2596-FEE3-5345-88F139CCB81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850750" y="195821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B48EC1A1-7D43-BADF-C955-D9D2305CD75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52220" y="195821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6A6A78D-DC10-BEBE-0CDA-6C7833C13A9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453691" y="195821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30552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Name</a:t>
            </a:r>
          </a:p>
          <a:p>
            <a:pPr lvl="1"/>
            <a:r>
              <a:rPr lang="en-US"/>
              <a:t>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2022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Name</a:t>
            </a:r>
          </a:p>
          <a:p>
            <a:pPr lvl="1"/>
            <a:r>
              <a:rPr lang="en-US"/>
              <a:t>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3493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Name</a:t>
            </a:r>
          </a:p>
          <a:p>
            <a:pPr lvl="1"/>
            <a:r>
              <a:rPr lang="en-US"/>
              <a:t>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55E1BF0C-AB7A-5FB2-60CD-DE8C423E3BC9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27" name="Picture 2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92B9F71A-BED9-D2D6-9321-C625684150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642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_WB 2011 Primary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123B292F-87C5-35D1-380B-BFF64485C4E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228600" indent="-228600" algn="ctr">
              <a:buFont typeface="Arial" pitchFamily="34" charset="0"/>
              <a:buChar char="•"/>
            </a:pPr>
            <a:endParaRPr lang="en-GB" sz="1400">
              <a:solidFill>
                <a:schemeClr val="bg2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DE43F99-C424-060B-236F-48B40198AE1F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11132742" y="6565890"/>
            <a:ext cx="40975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 defTabSz="914164" rtl="0" eaLnBrk="1" latinLnBrk="0" hangingPunct="1">
              <a:buFont typeface="Arial" pitchFamily="34" charset="0"/>
              <a:buNone/>
            </a:pPr>
            <a:fld id="{790FC2AF-B194-488D-8ACC-F2E58C812CDE}" type="slidenum">
              <a:rPr lang="en-US" sz="10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indent="0" algn="r" defTabSz="914164" rtl="0" eaLnBrk="1" latinLnBrk="0" hangingPunct="1">
                <a:buFont typeface="Arial" pitchFamily="34" charset="0"/>
                <a:buNone/>
              </a:pPr>
              <a:t>‹#›</a:t>
            </a:fld>
            <a:endParaRPr lang="en-US" sz="1000" kern="120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E201D34-FB54-104F-5CD3-A59E635B068B}"/>
              </a:ext>
            </a:extLst>
          </p:cNvPr>
          <p:cNvGrpSpPr/>
          <p:nvPr userDrawn="1"/>
        </p:nvGrpSpPr>
        <p:grpSpPr>
          <a:xfrm>
            <a:off x="7618" y="927608"/>
            <a:ext cx="4700127" cy="5565908"/>
            <a:chOff x="-8318" y="1426088"/>
            <a:chExt cx="4070045" cy="4819763"/>
          </a:xfrm>
          <a:solidFill>
            <a:schemeClr val="bg1">
              <a:alpha val="6000"/>
            </a:schemeClr>
          </a:solidFill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F293C0ED-C051-E437-5366-6AB15E53CE32}"/>
                </a:ext>
              </a:extLst>
            </p:cNvPr>
            <p:cNvSpPr/>
            <p:nvPr/>
          </p:nvSpPr>
          <p:spPr>
            <a:xfrm>
              <a:off x="-8318" y="1426088"/>
              <a:ext cx="3959116" cy="1664181"/>
            </a:xfrm>
            <a:custGeom>
              <a:avLst/>
              <a:gdLst>
                <a:gd name="connsiteX0" fmla="*/ 1666376 w 3959116"/>
                <a:gd name="connsiteY0" fmla="*/ 104 h 1664181"/>
                <a:gd name="connsiteX1" fmla="*/ 3959116 w 3959116"/>
                <a:gd name="connsiteY1" fmla="*/ 1651859 h 1664181"/>
                <a:gd name="connsiteX2" fmla="*/ 3959116 w 3959116"/>
                <a:gd name="connsiteY2" fmla="*/ 1664181 h 1664181"/>
                <a:gd name="connsiteX3" fmla="*/ 3798866 w 3959116"/>
                <a:gd name="connsiteY3" fmla="*/ 1664181 h 1664181"/>
                <a:gd name="connsiteX4" fmla="*/ 3798866 w 3959116"/>
                <a:gd name="connsiteY4" fmla="*/ 1651859 h 1664181"/>
                <a:gd name="connsiteX5" fmla="*/ 1654055 w 3959116"/>
                <a:gd name="connsiteY5" fmla="*/ 135693 h 1664181"/>
                <a:gd name="connsiteX6" fmla="*/ 53152 w 3959116"/>
                <a:gd name="connsiteY6" fmla="*/ 798243 h 1664181"/>
                <a:gd name="connsiteX7" fmla="*/ 0 w 3959116"/>
                <a:gd name="connsiteY7" fmla="*/ 856498 h 1664181"/>
                <a:gd name="connsiteX8" fmla="*/ 0 w 3959116"/>
                <a:gd name="connsiteY8" fmla="*/ 651533 h 1664181"/>
                <a:gd name="connsiteX9" fmla="*/ 120724 w 3959116"/>
                <a:gd name="connsiteY9" fmla="*/ 542652 h 1664181"/>
                <a:gd name="connsiteX10" fmla="*/ 1666376 w 3959116"/>
                <a:gd name="connsiteY10" fmla="*/ 104 h 1664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59116" h="1664181">
                  <a:moveTo>
                    <a:pt x="1666376" y="104"/>
                  </a:moveTo>
                  <a:cubicBezTo>
                    <a:pt x="2701808" y="104"/>
                    <a:pt x="3626294" y="665731"/>
                    <a:pt x="3959116" y="1651859"/>
                  </a:cubicBezTo>
                  <a:lnTo>
                    <a:pt x="3959116" y="1664181"/>
                  </a:lnTo>
                  <a:lnTo>
                    <a:pt x="3798866" y="1664181"/>
                  </a:lnTo>
                  <a:lnTo>
                    <a:pt x="3798866" y="1651859"/>
                  </a:lnTo>
                  <a:cubicBezTo>
                    <a:pt x="3478382" y="739696"/>
                    <a:pt x="2615522" y="135693"/>
                    <a:pt x="1654055" y="135693"/>
                  </a:cubicBezTo>
                  <a:cubicBezTo>
                    <a:pt x="1031571" y="135693"/>
                    <a:pt x="464551" y="388386"/>
                    <a:pt x="53152" y="798243"/>
                  </a:cubicBezTo>
                  <a:lnTo>
                    <a:pt x="0" y="856498"/>
                  </a:lnTo>
                  <a:lnTo>
                    <a:pt x="0" y="651533"/>
                  </a:lnTo>
                  <a:lnTo>
                    <a:pt x="120724" y="542652"/>
                  </a:lnTo>
                  <a:cubicBezTo>
                    <a:pt x="540291" y="199303"/>
                    <a:pt x="1078562" y="-5287"/>
                    <a:pt x="1666376" y="104"/>
                  </a:cubicBezTo>
                  <a:close/>
                </a:path>
              </a:pathLst>
            </a:custGeom>
            <a:grpFill/>
            <a:ln w="69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23AC8EAC-CF54-5B7F-863A-A0E75AB5CA86}"/>
                </a:ext>
              </a:extLst>
            </p:cNvPr>
            <p:cNvSpPr/>
            <p:nvPr/>
          </p:nvSpPr>
          <p:spPr>
            <a:xfrm>
              <a:off x="-8318" y="3534020"/>
              <a:ext cx="4070045" cy="2711831"/>
            </a:xfrm>
            <a:custGeom>
              <a:avLst/>
              <a:gdLst>
                <a:gd name="connsiteX0" fmla="*/ 1678715 w 4070045"/>
                <a:gd name="connsiteY0" fmla="*/ 0 h 2711831"/>
                <a:gd name="connsiteX1" fmla="*/ 4057724 w 4070045"/>
                <a:gd name="connsiteY1" fmla="*/ 12322 h 2711831"/>
                <a:gd name="connsiteX2" fmla="*/ 4070045 w 4070045"/>
                <a:gd name="connsiteY2" fmla="*/ 295841 h 2711831"/>
                <a:gd name="connsiteX3" fmla="*/ 1654055 w 4070045"/>
                <a:gd name="connsiteY3" fmla="*/ 2711831 h 2711831"/>
                <a:gd name="connsiteX4" fmla="*/ 118531 w 4070045"/>
                <a:gd name="connsiteY4" fmla="*/ 2159148 h 2711831"/>
                <a:gd name="connsiteX5" fmla="*/ 0 w 4070045"/>
                <a:gd name="connsiteY5" fmla="*/ 2051387 h 2711831"/>
                <a:gd name="connsiteX6" fmla="*/ 0 w 4070045"/>
                <a:gd name="connsiteY6" fmla="*/ 1843116 h 2711831"/>
                <a:gd name="connsiteX7" fmla="*/ 53152 w 4070045"/>
                <a:gd name="connsiteY7" fmla="*/ 1901371 h 2711831"/>
                <a:gd name="connsiteX8" fmla="*/ 1654055 w 4070045"/>
                <a:gd name="connsiteY8" fmla="*/ 2563920 h 2711831"/>
                <a:gd name="connsiteX9" fmla="*/ 3922134 w 4070045"/>
                <a:gd name="connsiteY9" fmla="*/ 295841 h 2711831"/>
                <a:gd name="connsiteX10" fmla="*/ 3922134 w 4070045"/>
                <a:gd name="connsiteY10" fmla="*/ 147912 h 2711831"/>
                <a:gd name="connsiteX11" fmla="*/ 1678715 w 4070045"/>
                <a:gd name="connsiteY11" fmla="*/ 147912 h 2711831"/>
                <a:gd name="connsiteX12" fmla="*/ 1678715 w 4070045"/>
                <a:gd name="connsiteY12" fmla="*/ 0 h 2711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070045" h="2711831">
                  <a:moveTo>
                    <a:pt x="1678715" y="0"/>
                  </a:moveTo>
                  <a:lnTo>
                    <a:pt x="4057724" y="12322"/>
                  </a:lnTo>
                  <a:cubicBezTo>
                    <a:pt x="4070045" y="110947"/>
                    <a:pt x="4070045" y="197233"/>
                    <a:pt x="4070045" y="295841"/>
                  </a:cubicBezTo>
                  <a:cubicBezTo>
                    <a:pt x="4070045" y="1627095"/>
                    <a:pt x="2985327" y="2711831"/>
                    <a:pt x="1654055" y="2711831"/>
                  </a:cubicBezTo>
                  <a:cubicBezTo>
                    <a:pt x="1071631" y="2711831"/>
                    <a:pt x="536392" y="2504206"/>
                    <a:pt x="118531" y="2159148"/>
                  </a:cubicBezTo>
                  <a:lnTo>
                    <a:pt x="0" y="2051387"/>
                  </a:lnTo>
                  <a:lnTo>
                    <a:pt x="0" y="1843116"/>
                  </a:lnTo>
                  <a:lnTo>
                    <a:pt x="53152" y="1901371"/>
                  </a:lnTo>
                  <a:cubicBezTo>
                    <a:pt x="464551" y="2311227"/>
                    <a:pt x="1031571" y="2563920"/>
                    <a:pt x="1654055" y="2563920"/>
                  </a:cubicBezTo>
                  <a:cubicBezTo>
                    <a:pt x="2899041" y="2563920"/>
                    <a:pt x="3922134" y="1553149"/>
                    <a:pt x="3922134" y="295841"/>
                  </a:cubicBezTo>
                  <a:cubicBezTo>
                    <a:pt x="3922134" y="246537"/>
                    <a:pt x="3922134" y="197233"/>
                    <a:pt x="3922134" y="147912"/>
                  </a:cubicBezTo>
                  <a:lnTo>
                    <a:pt x="1678715" y="147912"/>
                  </a:lnTo>
                  <a:lnTo>
                    <a:pt x="1678715" y="0"/>
                  </a:lnTo>
                  <a:close/>
                </a:path>
              </a:pathLst>
            </a:custGeom>
            <a:grpFill/>
            <a:ln w="69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5F97DE1D-133E-B739-C5D2-EE41D3FA273A}"/>
                </a:ext>
              </a:extLst>
            </p:cNvPr>
            <p:cNvSpPr/>
            <p:nvPr/>
          </p:nvSpPr>
          <p:spPr>
            <a:xfrm>
              <a:off x="67945" y="2227408"/>
              <a:ext cx="3106261" cy="3155582"/>
            </a:xfrm>
            <a:custGeom>
              <a:avLst/>
              <a:gdLst>
                <a:gd name="connsiteX0" fmla="*/ 88868 w 174958"/>
                <a:gd name="connsiteY0" fmla="*/ 9026 h 177736"/>
                <a:gd name="connsiteX1" fmla="*/ 157602 w 174958"/>
                <a:gd name="connsiteY1" fmla="*/ 47211 h 177736"/>
                <a:gd name="connsiteX2" fmla="*/ 157602 w 174958"/>
                <a:gd name="connsiteY2" fmla="*/ 47211 h 177736"/>
                <a:gd name="connsiteX3" fmla="*/ 167322 w 174958"/>
                <a:gd name="connsiteY3" fmla="*/ 47211 h 177736"/>
                <a:gd name="connsiteX4" fmla="*/ 166628 w 174958"/>
                <a:gd name="connsiteY4" fmla="*/ 45823 h 177736"/>
                <a:gd name="connsiteX5" fmla="*/ 88868 w 174958"/>
                <a:gd name="connsiteY5" fmla="*/ 0 h 177736"/>
                <a:gd name="connsiteX6" fmla="*/ 0 w 174958"/>
                <a:gd name="connsiteY6" fmla="*/ 88868 h 177736"/>
                <a:gd name="connsiteX7" fmla="*/ 88868 w 174958"/>
                <a:gd name="connsiteY7" fmla="*/ 177736 h 177736"/>
                <a:gd name="connsiteX8" fmla="*/ 174959 w 174958"/>
                <a:gd name="connsiteY8" fmla="*/ 112474 h 177736"/>
                <a:gd name="connsiteX9" fmla="*/ 174959 w 174958"/>
                <a:gd name="connsiteY9" fmla="*/ 111779 h 177736"/>
                <a:gd name="connsiteX10" fmla="*/ 90257 w 174958"/>
                <a:gd name="connsiteY10" fmla="*/ 111779 h 177736"/>
                <a:gd name="connsiteX11" fmla="*/ 90257 w 174958"/>
                <a:gd name="connsiteY11" fmla="*/ 121499 h 177736"/>
                <a:gd name="connsiteX12" fmla="*/ 163850 w 174958"/>
                <a:gd name="connsiteY12" fmla="*/ 121499 h 177736"/>
                <a:gd name="connsiteX13" fmla="*/ 89562 w 174958"/>
                <a:gd name="connsiteY13" fmla="*/ 171488 h 177736"/>
                <a:gd name="connsiteX14" fmla="*/ 8331 w 174958"/>
                <a:gd name="connsiteY14" fmla="*/ 90257 h 177736"/>
                <a:gd name="connsiteX15" fmla="*/ 88868 w 174958"/>
                <a:gd name="connsiteY15" fmla="*/ 9026 h 177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4958" h="177736">
                  <a:moveTo>
                    <a:pt x="88868" y="9026"/>
                  </a:moveTo>
                  <a:cubicBezTo>
                    <a:pt x="117334" y="9026"/>
                    <a:pt x="143022" y="23606"/>
                    <a:pt x="157602" y="47211"/>
                  </a:cubicBezTo>
                  <a:lnTo>
                    <a:pt x="157602" y="47211"/>
                  </a:lnTo>
                  <a:lnTo>
                    <a:pt x="167322" y="47211"/>
                  </a:lnTo>
                  <a:lnTo>
                    <a:pt x="166628" y="45823"/>
                  </a:lnTo>
                  <a:cubicBezTo>
                    <a:pt x="150659" y="17357"/>
                    <a:pt x="120805" y="0"/>
                    <a:pt x="88868" y="0"/>
                  </a:cubicBezTo>
                  <a:cubicBezTo>
                    <a:pt x="39574" y="0"/>
                    <a:pt x="0" y="40268"/>
                    <a:pt x="0" y="88868"/>
                  </a:cubicBezTo>
                  <a:cubicBezTo>
                    <a:pt x="0" y="137468"/>
                    <a:pt x="40268" y="177736"/>
                    <a:pt x="88868" y="177736"/>
                  </a:cubicBezTo>
                  <a:cubicBezTo>
                    <a:pt x="129136" y="177736"/>
                    <a:pt x="163850" y="150659"/>
                    <a:pt x="174959" y="112474"/>
                  </a:cubicBezTo>
                  <a:lnTo>
                    <a:pt x="174959" y="111779"/>
                  </a:lnTo>
                  <a:lnTo>
                    <a:pt x="90257" y="111779"/>
                  </a:lnTo>
                  <a:lnTo>
                    <a:pt x="90257" y="121499"/>
                  </a:lnTo>
                  <a:lnTo>
                    <a:pt x="163850" y="121499"/>
                  </a:lnTo>
                  <a:cubicBezTo>
                    <a:pt x="151353" y="152048"/>
                    <a:pt x="122194" y="171488"/>
                    <a:pt x="89562" y="171488"/>
                  </a:cubicBezTo>
                  <a:cubicBezTo>
                    <a:pt x="44434" y="171488"/>
                    <a:pt x="8331" y="134691"/>
                    <a:pt x="8331" y="90257"/>
                  </a:cubicBezTo>
                  <a:cubicBezTo>
                    <a:pt x="8331" y="45823"/>
                    <a:pt x="44434" y="9026"/>
                    <a:pt x="88868" y="9026"/>
                  </a:cubicBezTo>
                  <a:close/>
                </a:path>
              </a:pathLst>
            </a:custGeom>
            <a:grpFill/>
            <a:ln w="69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FB560B35-BFA2-DA27-5F95-35133DE34D5A}"/>
                </a:ext>
              </a:extLst>
            </p:cNvPr>
            <p:cNvSpPr/>
            <p:nvPr userDrawn="1"/>
          </p:nvSpPr>
          <p:spPr>
            <a:xfrm>
              <a:off x="-8318" y="1820638"/>
              <a:ext cx="3515346" cy="1257308"/>
            </a:xfrm>
            <a:custGeom>
              <a:avLst/>
              <a:gdLst>
                <a:gd name="connsiteX0" fmla="*/ 1654054 w 3515346"/>
                <a:gd name="connsiteY0" fmla="*/ 0 h 1257308"/>
                <a:gd name="connsiteX1" fmla="*/ 3503025 w 3515346"/>
                <a:gd name="connsiteY1" fmla="*/ 1244969 h 1257308"/>
                <a:gd name="connsiteX2" fmla="*/ 3515346 w 3515346"/>
                <a:gd name="connsiteY2" fmla="*/ 1257308 h 1257308"/>
                <a:gd name="connsiteX3" fmla="*/ 3355114 w 3515346"/>
                <a:gd name="connsiteY3" fmla="*/ 1257308 h 1257308"/>
                <a:gd name="connsiteX4" fmla="*/ 1666376 w 3515346"/>
                <a:gd name="connsiteY4" fmla="*/ 147911 h 1257308"/>
                <a:gd name="connsiteX5" fmla="*/ 30713 w 3515346"/>
                <a:gd name="connsiteY5" fmla="*/ 1124173 h 1257308"/>
                <a:gd name="connsiteX6" fmla="*/ 0 w 3515346"/>
                <a:gd name="connsiteY6" fmla="*/ 1187649 h 1257308"/>
                <a:gd name="connsiteX7" fmla="*/ 0 w 3515346"/>
                <a:gd name="connsiteY7" fmla="*/ 869995 h 1257308"/>
                <a:gd name="connsiteX8" fmla="*/ 103733 w 3515346"/>
                <a:gd name="connsiteY8" fmla="*/ 731288 h 1257308"/>
                <a:gd name="connsiteX9" fmla="*/ 1654054 w 3515346"/>
                <a:gd name="connsiteY9" fmla="*/ 0 h 1257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15346" h="1257308">
                  <a:moveTo>
                    <a:pt x="1654054" y="0"/>
                  </a:moveTo>
                  <a:cubicBezTo>
                    <a:pt x="2467593" y="0"/>
                    <a:pt x="3194863" y="493055"/>
                    <a:pt x="3503025" y="1244969"/>
                  </a:cubicBezTo>
                  <a:lnTo>
                    <a:pt x="3515346" y="1257308"/>
                  </a:lnTo>
                  <a:lnTo>
                    <a:pt x="3355114" y="1257308"/>
                  </a:lnTo>
                  <a:cubicBezTo>
                    <a:pt x="3059273" y="579342"/>
                    <a:pt x="2393646" y="147911"/>
                    <a:pt x="1666376" y="147911"/>
                  </a:cubicBezTo>
                  <a:cubicBezTo>
                    <a:pt x="963000" y="147911"/>
                    <a:pt x="347014" y="544100"/>
                    <a:pt x="30713" y="1124173"/>
                  </a:cubicBezTo>
                  <a:lnTo>
                    <a:pt x="0" y="1187649"/>
                  </a:lnTo>
                  <a:lnTo>
                    <a:pt x="0" y="869995"/>
                  </a:lnTo>
                  <a:lnTo>
                    <a:pt x="103733" y="731288"/>
                  </a:lnTo>
                  <a:cubicBezTo>
                    <a:pt x="472301" y="284716"/>
                    <a:pt x="1030028" y="0"/>
                    <a:pt x="165405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marL="228600" indent="-228600" algn="ctr">
                <a:buFont typeface="Arial" pitchFamily="34" charset="0"/>
                <a:buChar char="•"/>
              </a:pPr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CCC5C194-B808-32F4-2696-E4D251AA04DC}"/>
                </a:ext>
              </a:extLst>
            </p:cNvPr>
            <p:cNvSpPr/>
            <p:nvPr userDrawn="1"/>
          </p:nvSpPr>
          <p:spPr>
            <a:xfrm>
              <a:off x="-8318" y="3891485"/>
              <a:ext cx="3650954" cy="1947596"/>
            </a:xfrm>
            <a:custGeom>
              <a:avLst/>
              <a:gdLst>
                <a:gd name="connsiteX0" fmla="*/ 1333571 w 3650954"/>
                <a:gd name="connsiteY0" fmla="*/ 0 h 1947596"/>
                <a:gd name="connsiteX1" fmla="*/ 3650954 w 3650954"/>
                <a:gd name="connsiteY1" fmla="*/ 0 h 1947596"/>
                <a:gd name="connsiteX2" fmla="*/ 3650954 w 3650954"/>
                <a:gd name="connsiteY2" fmla="*/ 12339 h 1947596"/>
                <a:gd name="connsiteX3" fmla="*/ 3046952 w 3650954"/>
                <a:gd name="connsiteY3" fmla="*/ 1380576 h 1947596"/>
                <a:gd name="connsiteX4" fmla="*/ 1654054 w 3650954"/>
                <a:gd name="connsiteY4" fmla="*/ 1947596 h 1947596"/>
                <a:gd name="connsiteX5" fmla="*/ 103733 w 3650954"/>
                <a:gd name="connsiteY5" fmla="*/ 1216308 h 1947596"/>
                <a:gd name="connsiteX6" fmla="*/ 0 w 3650954"/>
                <a:gd name="connsiteY6" fmla="*/ 1077603 h 1947596"/>
                <a:gd name="connsiteX7" fmla="*/ 0 w 3650954"/>
                <a:gd name="connsiteY7" fmla="*/ 759947 h 1947596"/>
                <a:gd name="connsiteX8" fmla="*/ 30713 w 3650954"/>
                <a:gd name="connsiteY8" fmla="*/ 823423 h 1947596"/>
                <a:gd name="connsiteX9" fmla="*/ 1666376 w 3650954"/>
                <a:gd name="connsiteY9" fmla="*/ 1799685 h 1947596"/>
                <a:gd name="connsiteX10" fmla="*/ 2911362 w 3650954"/>
                <a:gd name="connsiteY10" fmla="*/ 1318951 h 1947596"/>
                <a:gd name="connsiteX11" fmla="*/ 3503025 w 3650954"/>
                <a:gd name="connsiteY11" fmla="*/ 147929 h 1947596"/>
                <a:gd name="connsiteX12" fmla="*/ 1333571 w 3650954"/>
                <a:gd name="connsiteY12" fmla="*/ 147929 h 1947596"/>
                <a:gd name="connsiteX13" fmla="*/ 1333571 w 3650954"/>
                <a:gd name="connsiteY13" fmla="*/ 0 h 1947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50954" h="1947596">
                  <a:moveTo>
                    <a:pt x="1333571" y="0"/>
                  </a:moveTo>
                  <a:lnTo>
                    <a:pt x="3650954" y="0"/>
                  </a:lnTo>
                  <a:lnTo>
                    <a:pt x="3650954" y="12339"/>
                  </a:lnTo>
                  <a:cubicBezTo>
                    <a:pt x="3638615" y="530055"/>
                    <a:pt x="3416739" y="1010789"/>
                    <a:pt x="3046952" y="1380576"/>
                  </a:cubicBezTo>
                  <a:cubicBezTo>
                    <a:pt x="2677147" y="1750363"/>
                    <a:pt x="2171770" y="1947596"/>
                    <a:pt x="1654054" y="1947596"/>
                  </a:cubicBezTo>
                  <a:cubicBezTo>
                    <a:pt x="1030028" y="1947596"/>
                    <a:pt x="472301" y="1662880"/>
                    <a:pt x="103733" y="1216308"/>
                  </a:cubicBezTo>
                  <a:lnTo>
                    <a:pt x="0" y="1077603"/>
                  </a:lnTo>
                  <a:lnTo>
                    <a:pt x="0" y="759947"/>
                  </a:lnTo>
                  <a:lnTo>
                    <a:pt x="30713" y="823423"/>
                  </a:lnTo>
                  <a:cubicBezTo>
                    <a:pt x="347014" y="1403496"/>
                    <a:pt x="963000" y="1799685"/>
                    <a:pt x="1666376" y="1799685"/>
                  </a:cubicBezTo>
                  <a:cubicBezTo>
                    <a:pt x="2122467" y="1799685"/>
                    <a:pt x="2566218" y="1627113"/>
                    <a:pt x="2911362" y="1318951"/>
                  </a:cubicBezTo>
                  <a:cubicBezTo>
                    <a:pt x="3244167" y="1010789"/>
                    <a:pt x="3453721" y="604002"/>
                    <a:pt x="3503025" y="147929"/>
                  </a:cubicBezTo>
                  <a:lnTo>
                    <a:pt x="1333571" y="147929"/>
                  </a:lnTo>
                  <a:lnTo>
                    <a:pt x="1333571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marL="228600" indent="-228600" algn="ctr">
                <a:buFont typeface="Arial" pitchFamily="34" charset="0"/>
                <a:buChar char="•"/>
              </a:pPr>
              <a:endParaRPr lang="en-GB" sz="1400">
                <a:solidFill>
                  <a:schemeClr val="tx1"/>
                </a:solidFill>
              </a:endParaRP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FD470F1B-BBF6-B0E9-D933-8B539181466A}"/>
              </a:ext>
            </a:extLst>
          </p:cNvPr>
          <p:cNvSpPr/>
          <p:nvPr userDrawn="1"/>
        </p:nvSpPr>
        <p:spPr>
          <a:xfrm>
            <a:off x="0" y="0"/>
            <a:ext cx="9568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228600" indent="-228600" algn="ctr">
              <a:buFont typeface="Arial" pitchFamily="34" charset="0"/>
              <a:buChar char="•"/>
            </a:pPr>
            <a:endParaRPr lang="en-GB" sz="1400">
              <a:solidFill>
                <a:schemeClr val="tx1"/>
              </a:solidFill>
            </a:endParaRP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DAB421AE-9D13-36CD-291C-A3D5BA788C86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94944" y="301752"/>
            <a:ext cx="10785856" cy="429768"/>
          </a:xfrm>
          <a:prstGeom prst="rect">
            <a:avLst/>
          </a:prstGeom>
        </p:spPr>
        <p:txBody>
          <a:bodyPr vert="horz" lIns="0" tIns="0" rIns="0" bIns="45720" rtlCol="0" anchor="b" anchorCtr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[Page Title]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DA76DFC5-EB20-8E00-DDE6-7C3BAC91F5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4944" y="819913"/>
            <a:ext cx="10785856" cy="294513"/>
          </a:xfrm>
          <a:prstGeom prst="rect">
            <a:avLst/>
          </a:prstGeom>
        </p:spPr>
        <p:txBody>
          <a:bodyPr wrap="square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lang="en-US" sz="1400" b="0" i="1" kern="1200" baseline="0" dirty="0">
                <a:solidFill>
                  <a:schemeClr val="bg1"/>
                </a:solidFill>
                <a:latin typeface="+mn-lt"/>
                <a:ea typeface="ＭＳ Ｐゴシック" pitchFamily="29" charset="-128"/>
                <a:cs typeface="Times New Roman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914164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</a:pPr>
            <a:r>
              <a:rPr lang="en-US"/>
              <a:t>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7618CFA-F71C-2D8B-9E2C-3219123FE581}"/>
              </a:ext>
            </a:extLst>
          </p:cNvPr>
          <p:cNvCxnSpPr>
            <a:cxnSpLocks/>
          </p:cNvCxnSpPr>
          <p:nvPr userDrawn="1"/>
        </p:nvCxnSpPr>
        <p:spPr>
          <a:xfrm>
            <a:off x="692908" y="731520"/>
            <a:ext cx="10800080" cy="0"/>
          </a:xfrm>
          <a:prstGeom prst="line">
            <a:avLst/>
          </a:prstGeom>
          <a:ln w="38100">
            <a:solidFill>
              <a:schemeClr val="accent2"/>
            </a:solidFill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D88B4D3-0339-67AC-71E3-916CAC0C7D50}"/>
              </a:ext>
            </a:extLst>
          </p:cNvPr>
          <p:cNvCxnSpPr>
            <a:cxnSpLocks/>
          </p:cNvCxnSpPr>
          <p:nvPr userDrawn="1"/>
        </p:nvCxnSpPr>
        <p:spPr>
          <a:xfrm>
            <a:off x="11267246" y="6516669"/>
            <a:ext cx="0" cy="252331"/>
          </a:xfrm>
          <a:prstGeom prst="line">
            <a:avLst/>
          </a:prstGeom>
          <a:ln w="19050">
            <a:solidFill>
              <a:srgbClr val="FFFFFF">
                <a:alpha val="85000"/>
              </a:srgbClr>
            </a:solidFill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8F1651D8-B95E-C67D-95C0-85D06CFEAEB7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788801" y="6507449"/>
            <a:ext cx="1319135" cy="270770"/>
          </a:xfrm>
          <a:prstGeom prst="rect">
            <a:avLst/>
          </a:prstGeom>
        </p:spPr>
      </p:pic>
      <p:pic>
        <p:nvPicPr>
          <p:cNvPr id="15" name="Picture 14" descr="WB_Final_approved.png">
            <a:extLst>
              <a:ext uri="{FF2B5EF4-FFF2-40B4-BE49-F238E27FC236}">
                <a16:creationId xmlns:a16="http://schemas.microsoft.com/office/drawing/2014/main" id="{598E14B7-6E0E-3898-535B-70E205786989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7" cstate="print">
            <a:lum bright="70000" contrast="-70000"/>
          </a:blip>
          <a:stretch>
            <a:fillRect/>
          </a:stretch>
        </p:blipFill>
        <p:spPr>
          <a:xfrm>
            <a:off x="329941" y="6605996"/>
            <a:ext cx="744618" cy="13446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B194035-6563-DD13-4F16-0D77A565763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1110835" y="6620158"/>
            <a:ext cx="493685" cy="106142"/>
          </a:xfrm>
          <a:prstGeom prst="rect">
            <a:avLst/>
          </a:prstGeom>
        </p:spPr>
      </p:pic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5B68DD3B-96B2-4882-FAA6-9715F0BF3A8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15127" y="6475502"/>
            <a:ext cx="7514364" cy="294513"/>
          </a:xfrm>
          <a:prstGeom prst="rect">
            <a:avLst/>
          </a:prstGeom>
        </p:spPr>
        <p:txBody>
          <a:bodyPr wrap="square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lang="en-US" sz="700" b="0" i="0" kern="1200" baseline="0" dirty="0">
                <a:solidFill>
                  <a:schemeClr val="bg1"/>
                </a:solidFill>
                <a:latin typeface="+mn-lt"/>
                <a:ea typeface="ＭＳ Ｐゴシック" pitchFamily="29" charset="-128"/>
                <a:cs typeface="Times New Roman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914164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900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_WB 2011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>
            <a:extLst>
              <a:ext uri="{FF2B5EF4-FFF2-40B4-BE49-F238E27FC236}">
                <a16:creationId xmlns:a16="http://schemas.microsoft.com/office/drawing/2014/main" id="{D5F3D26E-EBC5-D2EA-C91E-AD293ED85A5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0" rIns="45720" bIns="0" rtlCol="0" anchor="ctr" anchorCtr="0"/>
          <a:lstStyle/>
          <a:p>
            <a:pPr algn="ctr"/>
            <a:endParaRPr lang="en-US" sz="1100" b="1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0118854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4AC3BB-D5D2-46C5-9888-85E72747FB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1">
            <a:extLst>
              <a:ext uri="{FF2B5EF4-FFF2-40B4-BE49-F238E27FC236}">
                <a16:creationId xmlns:a16="http://schemas.microsoft.com/office/drawing/2014/main" id="{C91F2769-D324-4920-83C9-34B87D447804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79120" y="1592580"/>
            <a:ext cx="11041380" cy="4434840"/>
          </a:xfrm>
        </p:spPr>
        <p:txBody>
          <a:bodyPr vert="horz" wrap="square" lIns="91440" tIns="36576" rIns="36576" bIns="36576" anchor="t">
            <a:noAutofit/>
          </a:bodyPr>
          <a:lstStyle>
            <a:lvl1pPr marL="2646" indent="0" algn="l">
              <a:lnSpc>
                <a:spcPct val="110000"/>
              </a:lnSpc>
              <a:spcBef>
                <a:spcPct val="0"/>
              </a:spcBef>
              <a:buFontTx/>
              <a:buNone/>
              <a:defRPr sz="10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22859" indent="0" algn="l">
              <a:lnSpc>
                <a:spcPct val="110000"/>
              </a:lnSpc>
              <a:spcBef>
                <a:spcPct val="0"/>
              </a:spcBef>
              <a:buFontTx/>
              <a:buNone/>
              <a:defRPr sz="10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44774" indent="0" algn="l">
              <a:lnSpc>
                <a:spcPct val="110000"/>
              </a:lnSpc>
              <a:spcBef>
                <a:spcPct val="0"/>
              </a:spcBef>
              <a:buFontTx/>
              <a:buNone/>
              <a:defRPr sz="10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281929" indent="0" algn="l">
              <a:lnSpc>
                <a:spcPct val="110000"/>
              </a:lnSpc>
              <a:spcBef>
                <a:spcPct val="0"/>
              </a:spcBef>
              <a:buFontTx/>
              <a:buNone/>
              <a:defRPr sz="10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419083" indent="0" algn="l">
              <a:lnSpc>
                <a:spcPct val="110000"/>
              </a:lnSpc>
              <a:spcBef>
                <a:spcPct val="0"/>
              </a:spcBef>
              <a:buFontTx/>
              <a:buNone/>
              <a:defRPr sz="10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ageSubtitle">
            <a:extLst>
              <a:ext uri="{FF2B5EF4-FFF2-40B4-BE49-F238E27FC236}">
                <a16:creationId xmlns:a16="http://schemas.microsoft.com/office/drawing/2014/main" id="{D0FB0704-8FBA-E21A-ED22-0238B9191F06}"/>
              </a:ext>
            </a:extLst>
          </p:cNvPr>
          <p:cNvSpPr>
            <a:spLocks noGrp="1"/>
          </p:cNvSpPr>
          <p:nvPr>
            <p:ph type="subTitle" sz="quarter" idx="11" hasCustomPrompt="1"/>
          </p:nvPr>
        </p:nvSpPr>
        <p:spPr>
          <a:xfrm>
            <a:off x="381000" y="1002877"/>
            <a:ext cx="11430000" cy="32004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833"/>
              </a:spcBef>
              <a:buFontTx/>
              <a:buNone/>
              <a:defRPr sz="1750" b="0" i="0">
                <a:solidFill>
                  <a:schemeClr val="tx2"/>
                </a:solidFill>
                <a:latin typeface="Century Gothic" panose="020B0502020202020204" pitchFamily="34" charset="0"/>
              </a:defRPr>
            </a:lvl1pPr>
            <a:lvl2pPr marL="380985" indent="0" algn="ctr">
              <a:buNone/>
            </a:lvl2pPr>
            <a:lvl3pPr marL="761970" indent="0" algn="ctr">
              <a:buNone/>
            </a:lvl3pPr>
            <a:lvl4pPr marL="1142954" indent="0" algn="ctr">
              <a:buNone/>
            </a:lvl4pPr>
            <a:lvl5pPr marL="1523939" indent="0" algn="ctr">
              <a:buNone/>
            </a:lvl5pPr>
            <a:lvl6pPr marL="1904924" indent="0" algn="ctr">
              <a:buNone/>
            </a:lvl6pPr>
            <a:lvl7pPr marL="2285909" indent="0" algn="ctr">
              <a:buNone/>
            </a:lvl7pPr>
            <a:lvl8pPr marL="2666893" indent="0" algn="ctr">
              <a:buNone/>
            </a:lvl8pPr>
            <a:lvl9pPr marL="3047878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AAB8B04-DA8B-22A6-25E7-AC2C54281A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06162" y="6484467"/>
            <a:ext cx="7514364" cy="294513"/>
          </a:xfrm>
          <a:prstGeom prst="rect">
            <a:avLst/>
          </a:prstGeom>
        </p:spPr>
        <p:txBody>
          <a:bodyPr wrap="square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lang="en-US" sz="700" b="0" i="0" kern="1200" baseline="0" dirty="0">
                <a:solidFill>
                  <a:schemeClr val="tx1"/>
                </a:solidFill>
                <a:latin typeface="+mn-lt"/>
                <a:ea typeface="ＭＳ Ｐゴシック" pitchFamily="29" charset="-128"/>
                <a:cs typeface="Times New Roman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914164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35100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629"/>
          <a:stretch/>
        </p:blipFill>
        <p:spPr>
          <a:xfrm>
            <a:off x="0" y="0"/>
            <a:ext cx="3953437" cy="6858000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B8ADFF3-CB7C-2340-DA65-45BD32B7DA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577" y="2164793"/>
            <a:ext cx="4351788" cy="2543175"/>
          </a:xfrm>
        </p:spPr>
        <p:txBody>
          <a:bodyPr lIns="0" rIns="0" anchor="ctr">
            <a:normAutofit/>
          </a:bodyPr>
          <a:lstStyle>
            <a:lvl1pPr marL="0" indent="0">
              <a:lnSpc>
                <a:spcPct val="114000"/>
              </a:lnSpc>
              <a:buNone/>
              <a:defRPr sz="3200" b="1" spc="40" baseline="0">
                <a:solidFill>
                  <a:schemeClr val="accent1"/>
                </a:solidFill>
              </a:defRPr>
            </a:lvl1pPr>
            <a:lvl2pPr marL="6351" indent="0">
              <a:lnSpc>
                <a:spcPct val="114000"/>
              </a:lnSpc>
              <a:buNone/>
              <a:tabLst/>
              <a:defRPr sz="2400" spc="40">
                <a:solidFill>
                  <a:schemeClr val="accent1"/>
                </a:solidFill>
              </a:defRPr>
            </a:lvl2pPr>
            <a:lvl3pPr marL="6351" indent="0">
              <a:lnSpc>
                <a:spcPct val="114000"/>
              </a:lnSpc>
              <a:buNone/>
              <a:tabLst/>
              <a:defRPr sz="1800" spc="4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2" y="0"/>
            <a:ext cx="3953437" cy="6858000"/>
          </a:xfrm>
          <a:prstGeom prst="rect">
            <a:avLst/>
          </a:prstGeom>
          <a:solidFill>
            <a:schemeClr val="accent5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2168952" y="1655092"/>
            <a:ext cx="3566160" cy="3566160"/>
          </a:xfrm>
          <a:prstGeom prst="arc">
            <a:avLst>
              <a:gd name="adj1" fmla="val 6896465"/>
              <a:gd name="adj2" fmla="val 8818805"/>
            </a:avLst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02C61BF-C069-0363-B0D2-DAA6898F7DC8}"/>
              </a:ext>
            </a:extLst>
          </p:cNvPr>
          <p:cNvSpPr>
            <a:spLocks noChangeAspect="1"/>
          </p:cNvSpPr>
          <p:nvPr userDrawn="1"/>
        </p:nvSpPr>
        <p:spPr>
          <a:xfrm>
            <a:off x="2449654" y="1955899"/>
            <a:ext cx="2971800" cy="29718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6E5DF571-44A5-A36E-77C0-B0517DF656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71315" y="2173584"/>
            <a:ext cx="2528478" cy="253643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Arc 17">
            <a:extLst>
              <a:ext uri="{FF2B5EF4-FFF2-40B4-BE49-F238E27FC236}">
                <a16:creationId xmlns:a16="http://schemas.microsoft.com/office/drawing/2014/main" id="{C5E26A47-661A-77D8-1206-E7E0EFB71F49}"/>
              </a:ext>
            </a:extLst>
          </p:cNvPr>
          <p:cNvSpPr/>
          <p:nvPr userDrawn="1"/>
        </p:nvSpPr>
        <p:spPr>
          <a:xfrm>
            <a:off x="2247781" y="1734204"/>
            <a:ext cx="3408218" cy="3408218"/>
          </a:xfrm>
          <a:prstGeom prst="arc">
            <a:avLst>
              <a:gd name="adj1" fmla="val 16195710"/>
              <a:gd name="adj2" fmla="val 19139618"/>
            </a:avLst>
          </a:prstGeom>
          <a:ln w="38100">
            <a:solidFill>
              <a:schemeClr val="accent5">
                <a:alpha val="7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F8F06EE1-90EC-7EA3-C759-84EE4D6E2330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6891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744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0921E300-150A-3068-6A92-48686570DDC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84027" y="21277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4349" y="4235782"/>
            <a:ext cx="4119477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37652" y="4235782"/>
            <a:ext cx="4119477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Arc 2">
            <a:extLst>
              <a:ext uri="{FF2B5EF4-FFF2-40B4-BE49-F238E27FC236}">
                <a16:creationId xmlns:a16="http://schemas.microsoft.com/office/drawing/2014/main" id="{EA8FEC01-A47C-0769-0F0A-45EB5812A7F9}"/>
              </a:ext>
            </a:extLst>
          </p:cNvPr>
          <p:cNvSpPr/>
          <p:nvPr userDrawn="1"/>
        </p:nvSpPr>
        <p:spPr>
          <a:xfrm>
            <a:off x="2367317" y="19137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D9DD3650-AB75-F631-B1DE-B6F1D86C5C07}"/>
              </a:ext>
            </a:extLst>
          </p:cNvPr>
          <p:cNvSpPr/>
          <p:nvPr userDrawn="1"/>
        </p:nvSpPr>
        <p:spPr>
          <a:xfrm>
            <a:off x="2367317" y="19137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A6DF1E54-F4A1-E83F-8FBA-19DDE5AAC86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890500" y="21277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248BFC27-9417-BC11-7243-27892505071D}"/>
              </a:ext>
            </a:extLst>
          </p:cNvPr>
          <p:cNvSpPr/>
          <p:nvPr userDrawn="1"/>
        </p:nvSpPr>
        <p:spPr>
          <a:xfrm>
            <a:off x="7673790" y="19137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rc 7">
            <a:extLst>
              <a:ext uri="{FF2B5EF4-FFF2-40B4-BE49-F238E27FC236}">
                <a16:creationId xmlns:a16="http://schemas.microsoft.com/office/drawing/2014/main" id="{6F8AD76B-4766-500E-E593-975A7F1AACB1}"/>
              </a:ext>
            </a:extLst>
          </p:cNvPr>
          <p:cNvSpPr/>
          <p:nvPr userDrawn="1"/>
        </p:nvSpPr>
        <p:spPr>
          <a:xfrm>
            <a:off x="7673790" y="19137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AE7797B-2D53-2743-D8B1-C47E14A7124C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9" name="Picture 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DFD8DDF1-7740-FB7C-A212-71541271E9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9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0476" y="4235783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5313" y="4235784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00150" y="4235782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865EFAE0-675D-E4C9-D033-8A31F875BA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99251" y="20198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3" name="Arc 2">
            <a:extLst>
              <a:ext uri="{FF2B5EF4-FFF2-40B4-BE49-F238E27FC236}">
                <a16:creationId xmlns:a16="http://schemas.microsoft.com/office/drawing/2014/main" id="{7845045A-9483-5D3B-15A3-4CF7F6C7FA6E}"/>
              </a:ext>
            </a:extLst>
          </p:cNvPr>
          <p:cNvSpPr/>
          <p:nvPr userDrawn="1"/>
        </p:nvSpPr>
        <p:spPr>
          <a:xfrm>
            <a:off x="1382541" y="18058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21F4F86A-84AA-A12E-2D21-A90F5EE6C440}"/>
              </a:ext>
            </a:extLst>
          </p:cNvPr>
          <p:cNvSpPr/>
          <p:nvPr userDrawn="1"/>
        </p:nvSpPr>
        <p:spPr>
          <a:xfrm>
            <a:off x="1382541" y="18058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2355948A-074D-0627-025D-E49F0D47260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244088" y="20198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72BB7351-96C7-2250-6CBB-28EBF85083B0}"/>
              </a:ext>
            </a:extLst>
          </p:cNvPr>
          <p:cNvSpPr/>
          <p:nvPr userDrawn="1"/>
        </p:nvSpPr>
        <p:spPr>
          <a:xfrm>
            <a:off x="5027378" y="18058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D47057DB-80B0-654D-90EE-BB897C8F3FA9}"/>
              </a:ext>
            </a:extLst>
          </p:cNvPr>
          <p:cNvSpPr/>
          <p:nvPr userDrawn="1"/>
        </p:nvSpPr>
        <p:spPr>
          <a:xfrm>
            <a:off x="5027378" y="18058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4A3248EA-BA76-20C7-B18E-B6A2B03F94D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888925" y="20198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DF9EF6AA-BCCF-16BA-1338-495BC4F6C617}"/>
              </a:ext>
            </a:extLst>
          </p:cNvPr>
          <p:cNvSpPr/>
          <p:nvPr userDrawn="1"/>
        </p:nvSpPr>
        <p:spPr>
          <a:xfrm>
            <a:off x="8672215" y="18058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Arc 17">
            <a:extLst>
              <a:ext uri="{FF2B5EF4-FFF2-40B4-BE49-F238E27FC236}">
                <a16:creationId xmlns:a16="http://schemas.microsoft.com/office/drawing/2014/main" id="{4CF23B48-93C8-82C3-A456-6039B56FA1D5}"/>
              </a:ext>
            </a:extLst>
          </p:cNvPr>
          <p:cNvSpPr/>
          <p:nvPr userDrawn="1"/>
        </p:nvSpPr>
        <p:spPr>
          <a:xfrm>
            <a:off x="8672215" y="18058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0FD37A03-0C39-8E9A-4825-4A306F37B225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23" name="Picture 22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31B4EA73-C20E-74D1-F3F3-4CC65CDAF5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149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082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30552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2022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3493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916B36FD-E9C7-0EB7-4644-B045FADB85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9280" y="203195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4ED6FD4A-B9F9-0837-DB72-5C770519EEF2}"/>
              </a:ext>
            </a:extLst>
          </p:cNvPr>
          <p:cNvSpPr/>
          <p:nvPr userDrawn="1"/>
        </p:nvSpPr>
        <p:spPr>
          <a:xfrm>
            <a:off x="832570" y="1817943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3879B161-1AE2-FADA-334A-EFF2705442B2}"/>
              </a:ext>
            </a:extLst>
          </p:cNvPr>
          <p:cNvSpPr/>
          <p:nvPr userDrawn="1"/>
        </p:nvSpPr>
        <p:spPr>
          <a:xfrm>
            <a:off x="832570" y="1817943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7328D67A-6990-6860-7D63-8EBD5F23BAC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50750" y="203195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2ED2785D-F10D-C3F1-CD79-DDF830F565C7}"/>
              </a:ext>
            </a:extLst>
          </p:cNvPr>
          <p:cNvSpPr/>
          <p:nvPr userDrawn="1"/>
        </p:nvSpPr>
        <p:spPr>
          <a:xfrm>
            <a:off x="3634040" y="1817943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D57C4C20-7530-E470-7383-AE41F046A1D7}"/>
              </a:ext>
            </a:extLst>
          </p:cNvPr>
          <p:cNvSpPr/>
          <p:nvPr userDrawn="1"/>
        </p:nvSpPr>
        <p:spPr>
          <a:xfrm>
            <a:off x="3634040" y="1817943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D32EAB26-5370-6E5A-64B1-4E63CC98E0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52220" y="203195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C0AD66CC-EC9B-A4CD-A7B9-42ED1646CB6C}"/>
              </a:ext>
            </a:extLst>
          </p:cNvPr>
          <p:cNvSpPr/>
          <p:nvPr userDrawn="1"/>
        </p:nvSpPr>
        <p:spPr>
          <a:xfrm>
            <a:off x="6435510" y="1817943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Arc 22">
            <a:extLst>
              <a:ext uri="{FF2B5EF4-FFF2-40B4-BE49-F238E27FC236}">
                <a16:creationId xmlns:a16="http://schemas.microsoft.com/office/drawing/2014/main" id="{6E724543-4743-391D-133C-C13841B63EA8}"/>
              </a:ext>
            </a:extLst>
          </p:cNvPr>
          <p:cNvSpPr/>
          <p:nvPr userDrawn="1"/>
        </p:nvSpPr>
        <p:spPr>
          <a:xfrm>
            <a:off x="6435510" y="1817943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A422CF18-5A3F-9CEA-0302-225E0F8673C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453691" y="203195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5" name="Arc 24">
            <a:extLst>
              <a:ext uri="{FF2B5EF4-FFF2-40B4-BE49-F238E27FC236}">
                <a16:creationId xmlns:a16="http://schemas.microsoft.com/office/drawing/2014/main" id="{77D2335B-E767-A773-6A8A-16A2CC76473A}"/>
              </a:ext>
            </a:extLst>
          </p:cNvPr>
          <p:cNvSpPr/>
          <p:nvPr userDrawn="1"/>
        </p:nvSpPr>
        <p:spPr>
          <a:xfrm>
            <a:off x="9236981" y="1817943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Arc 25">
            <a:extLst>
              <a:ext uri="{FF2B5EF4-FFF2-40B4-BE49-F238E27FC236}">
                <a16:creationId xmlns:a16="http://schemas.microsoft.com/office/drawing/2014/main" id="{4232EF04-DFEA-B19B-2994-47F6D5F805CF}"/>
              </a:ext>
            </a:extLst>
          </p:cNvPr>
          <p:cNvSpPr/>
          <p:nvPr userDrawn="1"/>
        </p:nvSpPr>
        <p:spPr>
          <a:xfrm>
            <a:off x="9236981" y="1817943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DB18C11A-0BED-0028-13BD-7C1EE0E0DCC4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28" name="Picture 2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A9F90631-A342-0DF5-9F46-F9119EB3818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159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629"/>
          <a:stretch/>
        </p:blipFill>
        <p:spPr>
          <a:xfrm>
            <a:off x="0" y="0"/>
            <a:ext cx="3953437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2" y="0"/>
            <a:ext cx="3953437" cy="6858000"/>
          </a:xfrm>
          <a:prstGeom prst="rect">
            <a:avLst/>
          </a:prstGeom>
          <a:solidFill>
            <a:schemeClr val="accent3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04211FC1-A1D3-9CB4-C1BB-A6B6AB173BB1}"/>
              </a:ext>
            </a:extLst>
          </p:cNvPr>
          <p:cNvSpPr>
            <a:spLocks noChangeAspect="1"/>
          </p:cNvSpPr>
          <p:nvPr userDrawn="1"/>
        </p:nvSpPr>
        <p:spPr>
          <a:xfrm>
            <a:off x="2449654" y="1955899"/>
            <a:ext cx="2971800" cy="29718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Picture Placeholder 10">
            <a:extLst>
              <a:ext uri="{FF2B5EF4-FFF2-40B4-BE49-F238E27FC236}">
                <a16:creationId xmlns:a16="http://schemas.microsoft.com/office/drawing/2014/main" id="{810BDFDA-EE48-88A2-8966-9DFA17417D2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71315" y="2173584"/>
            <a:ext cx="2528478" cy="253643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2168952" y="1655092"/>
            <a:ext cx="3566160" cy="3566160"/>
          </a:xfrm>
          <a:prstGeom prst="arc">
            <a:avLst>
              <a:gd name="adj1" fmla="val 6896465"/>
              <a:gd name="adj2" fmla="val 8818805"/>
            </a:avLst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Arc 2">
            <a:extLst>
              <a:ext uri="{FF2B5EF4-FFF2-40B4-BE49-F238E27FC236}">
                <a16:creationId xmlns:a16="http://schemas.microsoft.com/office/drawing/2014/main" id="{8C8FF18D-29A5-1F5D-7963-9FDA4BC66886}"/>
              </a:ext>
            </a:extLst>
          </p:cNvPr>
          <p:cNvSpPr/>
          <p:nvPr userDrawn="1"/>
        </p:nvSpPr>
        <p:spPr>
          <a:xfrm>
            <a:off x="2247781" y="1734204"/>
            <a:ext cx="3408218" cy="3408218"/>
          </a:xfrm>
          <a:prstGeom prst="arc">
            <a:avLst>
              <a:gd name="adj1" fmla="val 16195710"/>
              <a:gd name="adj2" fmla="val 19139618"/>
            </a:avLst>
          </a:prstGeom>
          <a:ln w="38100">
            <a:solidFill>
              <a:schemeClr val="accent3">
                <a:alpha val="7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08ADA7B-80D4-677E-C859-DE8FB09DAA4E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51D0599B-9F14-59F6-48C2-398747F4A8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577" y="2164793"/>
            <a:ext cx="4351788" cy="2543175"/>
          </a:xfrm>
        </p:spPr>
        <p:txBody>
          <a:bodyPr lIns="0" rIns="0" anchor="ctr">
            <a:normAutofit/>
          </a:bodyPr>
          <a:lstStyle>
            <a:lvl1pPr marL="0" indent="0">
              <a:lnSpc>
                <a:spcPct val="114000"/>
              </a:lnSpc>
              <a:buNone/>
              <a:defRPr sz="3200" b="1" spc="40" baseline="0">
                <a:solidFill>
                  <a:schemeClr val="accent1"/>
                </a:solidFill>
              </a:defRPr>
            </a:lvl1pPr>
            <a:lvl2pPr marL="6351" indent="0">
              <a:lnSpc>
                <a:spcPct val="114000"/>
              </a:lnSpc>
              <a:buNone/>
              <a:tabLst/>
              <a:defRPr sz="2400" spc="40">
                <a:solidFill>
                  <a:schemeClr val="accent1"/>
                </a:solidFill>
              </a:defRPr>
            </a:lvl2pPr>
            <a:lvl3pPr marL="6351" indent="0">
              <a:lnSpc>
                <a:spcPct val="114000"/>
              </a:lnSpc>
              <a:buNone/>
              <a:tabLst/>
              <a:defRPr sz="1800" spc="4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</p:spTree>
    <p:extLst>
      <p:ext uri="{BB962C8B-B14F-4D97-AF65-F5344CB8AC3E}">
        <p14:creationId xmlns:p14="http://schemas.microsoft.com/office/powerpoint/2010/main" val="2147459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74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BDBB776A-071D-E582-B3CD-5794B197FE47}"/>
              </a:ext>
            </a:extLst>
          </p:cNvPr>
          <p:cNvGrpSpPr/>
          <p:nvPr userDrawn="1"/>
        </p:nvGrpSpPr>
        <p:grpSpPr>
          <a:xfrm rot="10800000">
            <a:off x="155943" y="4802440"/>
            <a:ext cx="6709295" cy="6709295"/>
            <a:chOff x="105150" y="-3122465"/>
            <a:chExt cx="5720108" cy="5720108"/>
          </a:xfrm>
        </p:grpSpPr>
        <p:sp>
          <p:nvSpPr>
            <p:cNvPr id="12" name="Chord 11">
              <a:extLst>
                <a:ext uri="{FF2B5EF4-FFF2-40B4-BE49-F238E27FC236}">
                  <a16:creationId xmlns:a16="http://schemas.microsoft.com/office/drawing/2014/main" id="{7BB2B28B-4BFE-B2F5-DC5E-390FC9478E14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099984"/>
                <a:gd name="adj2" fmla="val 9758148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6" name="Chord 15">
              <a:extLst>
                <a:ext uri="{FF2B5EF4-FFF2-40B4-BE49-F238E27FC236}">
                  <a16:creationId xmlns:a16="http://schemas.microsoft.com/office/drawing/2014/main" id="{1901EBED-3ED5-F5FF-FAC4-E3C4E5DED899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379694"/>
                <a:gd name="adj2" fmla="val 9313731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8" name="Chord 17">
              <a:extLst>
                <a:ext uri="{FF2B5EF4-FFF2-40B4-BE49-F238E27FC236}">
                  <a16:creationId xmlns:a16="http://schemas.microsoft.com/office/drawing/2014/main" id="{CEBDF90E-608A-7673-E39B-3BE16042EBD6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673024"/>
                <a:gd name="adj2" fmla="val 8811419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2D003A4-FFAD-D950-D02A-21674187E998}"/>
              </a:ext>
            </a:extLst>
          </p:cNvPr>
          <p:cNvGrpSpPr/>
          <p:nvPr userDrawn="1"/>
        </p:nvGrpSpPr>
        <p:grpSpPr>
          <a:xfrm>
            <a:off x="6113028" y="-2990654"/>
            <a:ext cx="6921331" cy="6921331"/>
            <a:chOff x="105150" y="-3122465"/>
            <a:chExt cx="5720108" cy="5720108"/>
          </a:xfrm>
        </p:grpSpPr>
        <p:sp>
          <p:nvSpPr>
            <p:cNvPr id="20" name="Chord 19">
              <a:extLst>
                <a:ext uri="{FF2B5EF4-FFF2-40B4-BE49-F238E27FC236}">
                  <a16:creationId xmlns:a16="http://schemas.microsoft.com/office/drawing/2014/main" id="{0A1A8329-D1F5-5C27-E042-F4F6DFE3C15E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20867905"/>
                <a:gd name="adj2" fmla="val 11478846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1" name="Chord 20">
              <a:extLst>
                <a:ext uri="{FF2B5EF4-FFF2-40B4-BE49-F238E27FC236}">
                  <a16:creationId xmlns:a16="http://schemas.microsoft.com/office/drawing/2014/main" id="{B72DC578-D487-9BAF-D045-B363F945EC9F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0769818"/>
                <a:gd name="adj2" fmla="val 11622062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2" name="Chord 21">
              <a:extLst>
                <a:ext uri="{FF2B5EF4-FFF2-40B4-BE49-F238E27FC236}">
                  <a16:creationId xmlns:a16="http://schemas.microsoft.com/office/drawing/2014/main" id="{0D0F9819-B720-30AC-3DFB-9F184297914F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656920"/>
                <a:gd name="adj2" fmla="val 11801938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472C3C59-EACF-1047-1DBE-2DE26A38A3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146926" y="1479552"/>
            <a:ext cx="3948113" cy="3948113"/>
          </a:xfrm>
        </p:spPr>
        <p:txBody>
          <a:bodyPr lIns="274320" tIns="274320" rIns="274320" bIns="274320"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or drag and drop to add a photo here.</a:t>
            </a:r>
          </a:p>
        </p:txBody>
      </p:sp>
      <p:pic>
        <p:nvPicPr>
          <p:cNvPr id="4" name="Picture 3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6DEC7FC5-2AAB-626B-B755-BC1622F04C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400" y="1191703"/>
            <a:ext cx="2574333" cy="533048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93A1E8D5-53C2-6152-B472-49004847BC4E}"/>
              </a:ext>
            </a:extLst>
          </p:cNvPr>
          <p:cNvSpPr/>
          <p:nvPr userDrawn="1"/>
        </p:nvSpPr>
        <p:spPr>
          <a:xfrm>
            <a:off x="624263" y="3751217"/>
            <a:ext cx="1512396" cy="73152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047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9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6726C246-002C-B05C-3B2C-D1190770DFF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4056" y="4027685"/>
            <a:ext cx="6261215" cy="429635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20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36EF4D24-639F-7928-C3F1-B6B380B330F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4425" y="2013036"/>
            <a:ext cx="6321588" cy="1606653"/>
          </a:xfrm>
        </p:spPr>
        <p:txBody>
          <a:bodyPr lIns="0" rIns="0" anchor="b">
            <a:noAutofit/>
          </a:bodyPr>
          <a:lstStyle>
            <a:lvl1pPr algn="l">
              <a:defRPr sz="3600" b="1" spc="3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Main Presentation Header Goes Here</a:t>
            </a:r>
          </a:p>
        </p:txBody>
      </p:sp>
    </p:spTree>
    <p:extLst>
      <p:ext uri="{BB962C8B-B14F-4D97-AF65-F5344CB8AC3E}">
        <p14:creationId xmlns:p14="http://schemas.microsoft.com/office/powerpoint/2010/main" val="1025677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6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0921E300-150A-3068-6A92-48686570DDC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84027" y="21277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4349" y="4235782"/>
            <a:ext cx="4119477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37652" y="4235782"/>
            <a:ext cx="4119477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Arc 2">
            <a:extLst>
              <a:ext uri="{FF2B5EF4-FFF2-40B4-BE49-F238E27FC236}">
                <a16:creationId xmlns:a16="http://schemas.microsoft.com/office/drawing/2014/main" id="{EA8FEC01-A47C-0769-0F0A-45EB5812A7F9}"/>
              </a:ext>
            </a:extLst>
          </p:cNvPr>
          <p:cNvSpPr/>
          <p:nvPr userDrawn="1"/>
        </p:nvSpPr>
        <p:spPr>
          <a:xfrm>
            <a:off x="2367317" y="19137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D9DD3650-AB75-F631-B1DE-B6F1D86C5C07}"/>
              </a:ext>
            </a:extLst>
          </p:cNvPr>
          <p:cNvSpPr/>
          <p:nvPr userDrawn="1"/>
        </p:nvSpPr>
        <p:spPr>
          <a:xfrm>
            <a:off x="2367317" y="19137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A6DF1E54-F4A1-E83F-8FBA-19DDE5AAC86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890500" y="21277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248BFC27-9417-BC11-7243-27892505071D}"/>
              </a:ext>
            </a:extLst>
          </p:cNvPr>
          <p:cNvSpPr/>
          <p:nvPr userDrawn="1"/>
        </p:nvSpPr>
        <p:spPr>
          <a:xfrm>
            <a:off x="7673790" y="19137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rc 7">
            <a:extLst>
              <a:ext uri="{FF2B5EF4-FFF2-40B4-BE49-F238E27FC236}">
                <a16:creationId xmlns:a16="http://schemas.microsoft.com/office/drawing/2014/main" id="{6F8AD76B-4766-500E-E593-975A7F1AACB1}"/>
              </a:ext>
            </a:extLst>
          </p:cNvPr>
          <p:cNvSpPr/>
          <p:nvPr userDrawn="1"/>
        </p:nvSpPr>
        <p:spPr>
          <a:xfrm>
            <a:off x="7673790" y="19137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43B80AE-D1C2-71D5-4464-5BBC7A4E316C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9" name="Picture 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AC846A85-7E88-92EA-8EEC-E82D4A8899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574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0476" y="4235783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5313" y="4235784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00150" y="4235782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865EFAE0-675D-E4C9-D033-8A31F875BA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99251" y="20198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3" name="Arc 2">
            <a:extLst>
              <a:ext uri="{FF2B5EF4-FFF2-40B4-BE49-F238E27FC236}">
                <a16:creationId xmlns:a16="http://schemas.microsoft.com/office/drawing/2014/main" id="{7845045A-9483-5D3B-15A3-4CF7F6C7FA6E}"/>
              </a:ext>
            </a:extLst>
          </p:cNvPr>
          <p:cNvSpPr/>
          <p:nvPr userDrawn="1"/>
        </p:nvSpPr>
        <p:spPr>
          <a:xfrm>
            <a:off x="1382541" y="18058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21F4F86A-84AA-A12E-2D21-A90F5EE6C440}"/>
              </a:ext>
            </a:extLst>
          </p:cNvPr>
          <p:cNvSpPr/>
          <p:nvPr userDrawn="1"/>
        </p:nvSpPr>
        <p:spPr>
          <a:xfrm>
            <a:off x="1382541" y="18058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2355948A-074D-0627-025D-E49F0D47260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244088" y="20198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72BB7351-96C7-2250-6CBB-28EBF85083B0}"/>
              </a:ext>
            </a:extLst>
          </p:cNvPr>
          <p:cNvSpPr/>
          <p:nvPr userDrawn="1"/>
        </p:nvSpPr>
        <p:spPr>
          <a:xfrm>
            <a:off x="5027378" y="18058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D47057DB-80B0-654D-90EE-BB897C8F3FA9}"/>
              </a:ext>
            </a:extLst>
          </p:cNvPr>
          <p:cNvSpPr/>
          <p:nvPr userDrawn="1"/>
        </p:nvSpPr>
        <p:spPr>
          <a:xfrm>
            <a:off x="5027378" y="18058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4A3248EA-BA76-20C7-B18E-B6A2B03F94D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888925" y="20198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DF9EF6AA-BCCF-16BA-1338-495BC4F6C617}"/>
              </a:ext>
            </a:extLst>
          </p:cNvPr>
          <p:cNvSpPr/>
          <p:nvPr userDrawn="1"/>
        </p:nvSpPr>
        <p:spPr>
          <a:xfrm>
            <a:off x="8672215" y="18058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Arc 17">
            <a:extLst>
              <a:ext uri="{FF2B5EF4-FFF2-40B4-BE49-F238E27FC236}">
                <a16:creationId xmlns:a16="http://schemas.microsoft.com/office/drawing/2014/main" id="{4CF23B48-93C8-82C3-A456-6039B56FA1D5}"/>
              </a:ext>
            </a:extLst>
          </p:cNvPr>
          <p:cNvSpPr/>
          <p:nvPr userDrawn="1"/>
        </p:nvSpPr>
        <p:spPr>
          <a:xfrm>
            <a:off x="8672215" y="18058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A205796-911D-42D3-2DCA-D2ED160A36CD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F56534ED-7B7F-221B-EC02-5FDF4004BA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5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082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30552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2022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3493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916B36FD-E9C7-0EB7-4644-B045FADB85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9280" y="203195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4ED6FD4A-B9F9-0837-DB72-5C770519EEF2}"/>
              </a:ext>
            </a:extLst>
          </p:cNvPr>
          <p:cNvSpPr/>
          <p:nvPr userDrawn="1"/>
        </p:nvSpPr>
        <p:spPr>
          <a:xfrm>
            <a:off x="832570" y="1817943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3879B161-1AE2-FADA-334A-EFF2705442B2}"/>
              </a:ext>
            </a:extLst>
          </p:cNvPr>
          <p:cNvSpPr/>
          <p:nvPr userDrawn="1"/>
        </p:nvSpPr>
        <p:spPr>
          <a:xfrm>
            <a:off x="832570" y="1817943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7328D67A-6990-6860-7D63-8EBD5F23BAC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50750" y="203195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2ED2785D-F10D-C3F1-CD79-DDF830F565C7}"/>
              </a:ext>
            </a:extLst>
          </p:cNvPr>
          <p:cNvSpPr/>
          <p:nvPr userDrawn="1"/>
        </p:nvSpPr>
        <p:spPr>
          <a:xfrm>
            <a:off x="3634040" y="1817943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D57C4C20-7530-E470-7383-AE41F046A1D7}"/>
              </a:ext>
            </a:extLst>
          </p:cNvPr>
          <p:cNvSpPr/>
          <p:nvPr userDrawn="1"/>
        </p:nvSpPr>
        <p:spPr>
          <a:xfrm>
            <a:off x="3634040" y="1817943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D32EAB26-5370-6E5A-64B1-4E63CC98E0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52220" y="203195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C0AD66CC-EC9B-A4CD-A7B9-42ED1646CB6C}"/>
              </a:ext>
            </a:extLst>
          </p:cNvPr>
          <p:cNvSpPr/>
          <p:nvPr userDrawn="1"/>
        </p:nvSpPr>
        <p:spPr>
          <a:xfrm>
            <a:off x="6435510" y="1817943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Arc 22">
            <a:extLst>
              <a:ext uri="{FF2B5EF4-FFF2-40B4-BE49-F238E27FC236}">
                <a16:creationId xmlns:a16="http://schemas.microsoft.com/office/drawing/2014/main" id="{6E724543-4743-391D-133C-C13841B63EA8}"/>
              </a:ext>
            </a:extLst>
          </p:cNvPr>
          <p:cNvSpPr/>
          <p:nvPr userDrawn="1"/>
        </p:nvSpPr>
        <p:spPr>
          <a:xfrm>
            <a:off x="6435510" y="1817943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A422CF18-5A3F-9CEA-0302-225E0F8673C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453691" y="203195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5" name="Arc 24">
            <a:extLst>
              <a:ext uri="{FF2B5EF4-FFF2-40B4-BE49-F238E27FC236}">
                <a16:creationId xmlns:a16="http://schemas.microsoft.com/office/drawing/2014/main" id="{77D2335B-E767-A773-6A8A-16A2CC76473A}"/>
              </a:ext>
            </a:extLst>
          </p:cNvPr>
          <p:cNvSpPr/>
          <p:nvPr userDrawn="1"/>
        </p:nvSpPr>
        <p:spPr>
          <a:xfrm>
            <a:off x="9236981" y="1817943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Arc 25">
            <a:extLst>
              <a:ext uri="{FF2B5EF4-FFF2-40B4-BE49-F238E27FC236}">
                <a16:creationId xmlns:a16="http://schemas.microsoft.com/office/drawing/2014/main" id="{4232EF04-DFEA-B19B-2994-47F6D5F805CF}"/>
              </a:ext>
            </a:extLst>
          </p:cNvPr>
          <p:cNvSpPr/>
          <p:nvPr userDrawn="1"/>
        </p:nvSpPr>
        <p:spPr>
          <a:xfrm>
            <a:off x="9236981" y="1817943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4BECF39-AEC7-190C-DCFF-404879FB2D42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26CF2825-01B8-E296-3BF9-CE9648CD87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055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629"/>
          <a:stretch/>
        </p:blipFill>
        <p:spPr>
          <a:xfrm>
            <a:off x="0" y="0"/>
            <a:ext cx="3953437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2" y="0"/>
            <a:ext cx="3953437" cy="6858000"/>
          </a:xfrm>
          <a:prstGeom prst="rect">
            <a:avLst/>
          </a:prstGeom>
          <a:solidFill>
            <a:schemeClr val="accent4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2168952" y="1655092"/>
            <a:ext cx="3566160" cy="3566160"/>
          </a:xfrm>
          <a:prstGeom prst="arc">
            <a:avLst>
              <a:gd name="adj1" fmla="val 6896465"/>
              <a:gd name="adj2" fmla="val 8818805"/>
            </a:avLst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A5158757-180A-27F0-F391-4AF4A52DD295}"/>
              </a:ext>
            </a:extLst>
          </p:cNvPr>
          <p:cNvSpPr>
            <a:spLocks noChangeAspect="1"/>
          </p:cNvSpPr>
          <p:nvPr userDrawn="1"/>
        </p:nvSpPr>
        <p:spPr>
          <a:xfrm>
            <a:off x="2449654" y="1955899"/>
            <a:ext cx="2971800" cy="29718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D3223CE2-BE96-BA32-BC41-72D7C8E35C4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71315" y="2173584"/>
            <a:ext cx="2528478" cy="253643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AD2AA2F8-DEF1-2E59-2A2C-DA7228240DFD}"/>
              </a:ext>
            </a:extLst>
          </p:cNvPr>
          <p:cNvSpPr/>
          <p:nvPr userDrawn="1"/>
        </p:nvSpPr>
        <p:spPr>
          <a:xfrm>
            <a:off x="2247781" y="1734204"/>
            <a:ext cx="3408218" cy="3408218"/>
          </a:xfrm>
          <a:prstGeom prst="arc">
            <a:avLst>
              <a:gd name="adj1" fmla="val 16195710"/>
              <a:gd name="adj2" fmla="val 19139618"/>
            </a:avLst>
          </a:prstGeom>
          <a:ln w="38100">
            <a:solidFill>
              <a:schemeClr val="accent4">
                <a:alpha val="7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F339642-4EBF-39A8-1E9D-74A6E5C296FD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F19CFD58-C58F-6313-C173-CDD5F51E2F0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577" y="2164793"/>
            <a:ext cx="4351788" cy="2543175"/>
          </a:xfrm>
        </p:spPr>
        <p:txBody>
          <a:bodyPr lIns="0" rIns="0" anchor="ctr">
            <a:normAutofit/>
          </a:bodyPr>
          <a:lstStyle>
            <a:lvl1pPr marL="0" indent="0">
              <a:lnSpc>
                <a:spcPct val="114000"/>
              </a:lnSpc>
              <a:buNone/>
              <a:defRPr sz="3200" b="1" spc="40" baseline="0">
                <a:solidFill>
                  <a:schemeClr val="accent1"/>
                </a:solidFill>
              </a:defRPr>
            </a:lvl1pPr>
            <a:lvl2pPr marL="6351" indent="0">
              <a:lnSpc>
                <a:spcPct val="114000"/>
              </a:lnSpc>
              <a:buNone/>
              <a:tabLst/>
              <a:defRPr sz="2400" spc="40">
                <a:solidFill>
                  <a:schemeClr val="accent1"/>
                </a:solidFill>
              </a:defRPr>
            </a:lvl2pPr>
            <a:lvl3pPr marL="6351" indent="0">
              <a:lnSpc>
                <a:spcPct val="114000"/>
              </a:lnSpc>
              <a:buNone/>
              <a:tabLst/>
              <a:defRPr sz="1800" spc="4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</p:spTree>
    <p:extLst>
      <p:ext uri="{BB962C8B-B14F-4D97-AF65-F5344CB8AC3E}">
        <p14:creationId xmlns:p14="http://schemas.microsoft.com/office/powerpoint/2010/main" val="3862765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744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0921E300-150A-3068-6A92-48686570DDC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84027" y="21277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4349" y="4235782"/>
            <a:ext cx="4119477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37652" y="4235782"/>
            <a:ext cx="4119477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Arc 2">
            <a:extLst>
              <a:ext uri="{FF2B5EF4-FFF2-40B4-BE49-F238E27FC236}">
                <a16:creationId xmlns:a16="http://schemas.microsoft.com/office/drawing/2014/main" id="{EA8FEC01-A47C-0769-0F0A-45EB5812A7F9}"/>
              </a:ext>
            </a:extLst>
          </p:cNvPr>
          <p:cNvSpPr/>
          <p:nvPr userDrawn="1"/>
        </p:nvSpPr>
        <p:spPr>
          <a:xfrm>
            <a:off x="2367317" y="19137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D9DD3650-AB75-F631-B1DE-B6F1D86C5C07}"/>
              </a:ext>
            </a:extLst>
          </p:cNvPr>
          <p:cNvSpPr/>
          <p:nvPr userDrawn="1"/>
        </p:nvSpPr>
        <p:spPr>
          <a:xfrm>
            <a:off x="2367317" y="19137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A6DF1E54-F4A1-E83F-8FBA-19DDE5AAC86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890500" y="21277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248BFC27-9417-BC11-7243-27892505071D}"/>
              </a:ext>
            </a:extLst>
          </p:cNvPr>
          <p:cNvSpPr/>
          <p:nvPr userDrawn="1"/>
        </p:nvSpPr>
        <p:spPr>
          <a:xfrm>
            <a:off x="7673790" y="19137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rc 7">
            <a:extLst>
              <a:ext uri="{FF2B5EF4-FFF2-40B4-BE49-F238E27FC236}">
                <a16:creationId xmlns:a16="http://schemas.microsoft.com/office/drawing/2014/main" id="{6F8AD76B-4766-500E-E593-975A7F1AACB1}"/>
              </a:ext>
            </a:extLst>
          </p:cNvPr>
          <p:cNvSpPr/>
          <p:nvPr userDrawn="1"/>
        </p:nvSpPr>
        <p:spPr>
          <a:xfrm>
            <a:off x="7673790" y="19137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E6E216D-86E6-6301-1B3E-9EFCFC6FFA7C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9" name="Picture 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32080C2C-64B7-A151-F44B-5B84872D30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315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0476" y="4235783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5313" y="4235784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00150" y="4235782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865EFAE0-675D-E4C9-D033-8A31F875BA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99251" y="20198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3" name="Arc 2">
            <a:extLst>
              <a:ext uri="{FF2B5EF4-FFF2-40B4-BE49-F238E27FC236}">
                <a16:creationId xmlns:a16="http://schemas.microsoft.com/office/drawing/2014/main" id="{7845045A-9483-5D3B-15A3-4CF7F6C7FA6E}"/>
              </a:ext>
            </a:extLst>
          </p:cNvPr>
          <p:cNvSpPr/>
          <p:nvPr userDrawn="1"/>
        </p:nvSpPr>
        <p:spPr>
          <a:xfrm>
            <a:off x="1382541" y="18058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21F4F86A-84AA-A12E-2D21-A90F5EE6C440}"/>
              </a:ext>
            </a:extLst>
          </p:cNvPr>
          <p:cNvSpPr/>
          <p:nvPr userDrawn="1"/>
        </p:nvSpPr>
        <p:spPr>
          <a:xfrm>
            <a:off x="1382541" y="18058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2355948A-074D-0627-025D-E49F0D47260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244088" y="20198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72BB7351-96C7-2250-6CBB-28EBF85083B0}"/>
              </a:ext>
            </a:extLst>
          </p:cNvPr>
          <p:cNvSpPr/>
          <p:nvPr userDrawn="1"/>
        </p:nvSpPr>
        <p:spPr>
          <a:xfrm>
            <a:off x="5027378" y="18058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D47057DB-80B0-654D-90EE-BB897C8F3FA9}"/>
              </a:ext>
            </a:extLst>
          </p:cNvPr>
          <p:cNvSpPr/>
          <p:nvPr userDrawn="1"/>
        </p:nvSpPr>
        <p:spPr>
          <a:xfrm>
            <a:off x="5027378" y="18058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4A3248EA-BA76-20C7-B18E-B6A2B03F94D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888925" y="20198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DF9EF6AA-BCCF-16BA-1338-495BC4F6C617}"/>
              </a:ext>
            </a:extLst>
          </p:cNvPr>
          <p:cNvSpPr/>
          <p:nvPr userDrawn="1"/>
        </p:nvSpPr>
        <p:spPr>
          <a:xfrm>
            <a:off x="8672215" y="18058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Arc 17">
            <a:extLst>
              <a:ext uri="{FF2B5EF4-FFF2-40B4-BE49-F238E27FC236}">
                <a16:creationId xmlns:a16="http://schemas.microsoft.com/office/drawing/2014/main" id="{4CF23B48-93C8-82C3-A456-6039B56FA1D5}"/>
              </a:ext>
            </a:extLst>
          </p:cNvPr>
          <p:cNvSpPr/>
          <p:nvPr userDrawn="1"/>
        </p:nvSpPr>
        <p:spPr>
          <a:xfrm>
            <a:off x="8672215" y="18058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98C56C1-2C0F-3F56-0EAF-4286AE0E6868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04295181-FEE3-3671-D45E-7C29FC072C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478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082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30552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2022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3493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916B36FD-E9C7-0EB7-4644-B045FADB85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9280" y="203195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4ED6FD4A-B9F9-0837-DB72-5C770519EEF2}"/>
              </a:ext>
            </a:extLst>
          </p:cNvPr>
          <p:cNvSpPr/>
          <p:nvPr userDrawn="1"/>
        </p:nvSpPr>
        <p:spPr>
          <a:xfrm>
            <a:off x="832570" y="1817943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3879B161-1AE2-FADA-334A-EFF2705442B2}"/>
              </a:ext>
            </a:extLst>
          </p:cNvPr>
          <p:cNvSpPr/>
          <p:nvPr userDrawn="1"/>
        </p:nvSpPr>
        <p:spPr>
          <a:xfrm>
            <a:off x="832570" y="1817943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7328D67A-6990-6860-7D63-8EBD5F23BAC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50750" y="203195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2ED2785D-F10D-C3F1-CD79-DDF830F565C7}"/>
              </a:ext>
            </a:extLst>
          </p:cNvPr>
          <p:cNvSpPr/>
          <p:nvPr userDrawn="1"/>
        </p:nvSpPr>
        <p:spPr>
          <a:xfrm>
            <a:off x="3634040" y="1817943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D57C4C20-7530-E470-7383-AE41F046A1D7}"/>
              </a:ext>
            </a:extLst>
          </p:cNvPr>
          <p:cNvSpPr/>
          <p:nvPr userDrawn="1"/>
        </p:nvSpPr>
        <p:spPr>
          <a:xfrm>
            <a:off x="3634040" y="1817943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D32EAB26-5370-6E5A-64B1-4E63CC98E0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52220" y="203195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C0AD66CC-EC9B-A4CD-A7B9-42ED1646CB6C}"/>
              </a:ext>
            </a:extLst>
          </p:cNvPr>
          <p:cNvSpPr/>
          <p:nvPr userDrawn="1"/>
        </p:nvSpPr>
        <p:spPr>
          <a:xfrm>
            <a:off x="6435510" y="1817943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Arc 22">
            <a:extLst>
              <a:ext uri="{FF2B5EF4-FFF2-40B4-BE49-F238E27FC236}">
                <a16:creationId xmlns:a16="http://schemas.microsoft.com/office/drawing/2014/main" id="{6E724543-4743-391D-133C-C13841B63EA8}"/>
              </a:ext>
            </a:extLst>
          </p:cNvPr>
          <p:cNvSpPr/>
          <p:nvPr userDrawn="1"/>
        </p:nvSpPr>
        <p:spPr>
          <a:xfrm>
            <a:off x="6435510" y="1817943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A422CF18-5A3F-9CEA-0302-225E0F8673C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453691" y="203195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5" name="Arc 24">
            <a:extLst>
              <a:ext uri="{FF2B5EF4-FFF2-40B4-BE49-F238E27FC236}">
                <a16:creationId xmlns:a16="http://schemas.microsoft.com/office/drawing/2014/main" id="{77D2335B-E767-A773-6A8A-16A2CC76473A}"/>
              </a:ext>
            </a:extLst>
          </p:cNvPr>
          <p:cNvSpPr/>
          <p:nvPr userDrawn="1"/>
        </p:nvSpPr>
        <p:spPr>
          <a:xfrm>
            <a:off x="9236981" y="1817943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Arc 25">
            <a:extLst>
              <a:ext uri="{FF2B5EF4-FFF2-40B4-BE49-F238E27FC236}">
                <a16:creationId xmlns:a16="http://schemas.microsoft.com/office/drawing/2014/main" id="{4232EF04-DFEA-B19B-2994-47F6D5F805CF}"/>
              </a:ext>
            </a:extLst>
          </p:cNvPr>
          <p:cNvSpPr/>
          <p:nvPr userDrawn="1"/>
        </p:nvSpPr>
        <p:spPr>
          <a:xfrm>
            <a:off x="9236981" y="1817943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DA4AD3B-A48B-FE95-DABE-9280DC42859F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2A8C84DE-812B-4CCA-736C-CACC213548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9545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629"/>
          <a:stretch/>
        </p:blipFill>
        <p:spPr>
          <a:xfrm>
            <a:off x="0" y="0"/>
            <a:ext cx="3953437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2" y="0"/>
            <a:ext cx="3953437" cy="6858000"/>
          </a:xfrm>
          <a:prstGeom prst="rect">
            <a:avLst/>
          </a:prstGeom>
          <a:solidFill>
            <a:schemeClr val="accent2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2168952" y="1655092"/>
            <a:ext cx="3566160" cy="3566160"/>
          </a:xfrm>
          <a:prstGeom prst="arc">
            <a:avLst>
              <a:gd name="adj1" fmla="val 6896465"/>
              <a:gd name="adj2" fmla="val 8818805"/>
            </a:avLst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C5FD2D68-2060-1E2D-2AF0-AC75F6A5380F}"/>
              </a:ext>
            </a:extLst>
          </p:cNvPr>
          <p:cNvSpPr>
            <a:spLocks noChangeAspect="1"/>
          </p:cNvSpPr>
          <p:nvPr userDrawn="1"/>
        </p:nvSpPr>
        <p:spPr>
          <a:xfrm>
            <a:off x="2449654" y="1955899"/>
            <a:ext cx="2971800" cy="29718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FD1A75F9-6602-5301-7392-68323FD6ACD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71315" y="2173584"/>
            <a:ext cx="2528478" cy="253643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2D0A4C88-0868-296B-A427-A0E9FE4F01B7}"/>
              </a:ext>
            </a:extLst>
          </p:cNvPr>
          <p:cNvSpPr/>
          <p:nvPr userDrawn="1"/>
        </p:nvSpPr>
        <p:spPr>
          <a:xfrm>
            <a:off x="2247781" y="1734204"/>
            <a:ext cx="3408218" cy="3408218"/>
          </a:xfrm>
          <a:prstGeom prst="arc">
            <a:avLst>
              <a:gd name="adj1" fmla="val 16195710"/>
              <a:gd name="adj2" fmla="val 19139618"/>
            </a:avLst>
          </a:prstGeom>
          <a:ln w="38100">
            <a:solidFill>
              <a:schemeClr val="accent2">
                <a:alpha val="7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3EE678F-F1A4-5430-C2A7-11B43E0BCCD1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C3D6704F-7411-3CDE-9EBF-CA5B7AC402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577" y="2164793"/>
            <a:ext cx="4351788" cy="2543175"/>
          </a:xfrm>
        </p:spPr>
        <p:txBody>
          <a:bodyPr lIns="0" rIns="0" anchor="ctr">
            <a:normAutofit/>
          </a:bodyPr>
          <a:lstStyle>
            <a:lvl1pPr marL="0" indent="0">
              <a:lnSpc>
                <a:spcPct val="114000"/>
              </a:lnSpc>
              <a:buNone/>
              <a:defRPr sz="3200" b="1" spc="40" baseline="0">
                <a:solidFill>
                  <a:schemeClr val="accent1"/>
                </a:solidFill>
              </a:defRPr>
            </a:lvl1pPr>
            <a:lvl2pPr marL="6351" indent="0">
              <a:lnSpc>
                <a:spcPct val="114000"/>
              </a:lnSpc>
              <a:buNone/>
              <a:tabLst/>
              <a:defRPr sz="2400" spc="40">
                <a:solidFill>
                  <a:schemeClr val="accent1"/>
                </a:solidFill>
              </a:defRPr>
            </a:lvl2pPr>
            <a:lvl3pPr marL="6351" indent="0">
              <a:lnSpc>
                <a:spcPct val="114000"/>
              </a:lnSpc>
              <a:buNone/>
              <a:tabLst/>
              <a:defRPr sz="1800" spc="4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</p:spTree>
    <p:extLst>
      <p:ext uri="{BB962C8B-B14F-4D97-AF65-F5344CB8AC3E}">
        <p14:creationId xmlns:p14="http://schemas.microsoft.com/office/powerpoint/2010/main" val="515693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74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0921E300-150A-3068-6A92-48686570DDC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84027" y="21277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4349" y="4235782"/>
            <a:ext cx="4119477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37652" y="4235782"/>
            <a:ext cx="4119477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Arc 2">
            <a:extLst>
              <a:ext uri="{FF2B5EF4-FFF2-40B4-BE49-F238E27FC236}">
                <a16:creationId xmlns:a16="http://schemas.microsoft.com/office/drawing/2014/main" id="{EA8FEC01-A47C-0769-0F0A-45EB5812A7F9}"/>
              </a:ext>
            </a:extLst>
          </p:cNvPr>
          <p:cNvSpPr/>
          <p:nvPr userDrawn="1"/>
        </p:nvSpPr>
        <p:spPr>
          <a:xfrm>
            <a:off x="2367317" y="19137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D9DD3650-AB75-F631-B1DE-B6F1D86C5C07}"/>
              </a:ext>
            </a:extLst>
          </p:cNvPr>
          <p:cNvSpPr/>
          <p:nvPr userDrawn="1"/>
        </p:nvSpPr>
        <p:spPr>
          <a:xfrm>
            <a:off x="2367317" y="19137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A6DF1E54-F4A1-E83F-8FBA-19DDE5AAC86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890500" y="21277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248BFC27-9417-BC11-7243-27892505071D}"/>
              </a:ext>
            </a:extLst>
          </p:cNvPr>
          <p:cNvSpPr/>
          <p:nvPr userDrawn="1"/>
        </p:nvSpPr>
        <p:spPr>
          <a:xfrm>
            <a:off x="7673790" y="19137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rc 7">
            <a:extLst>
              <a:ext uri="{FF2B5EF4-FFF2-40B4-BE49-F238E27FC236}">
                <a16:creationId xmlns:a16="http://schemas.microsoft.com/office/drawing/2014/main" id="{6F8AD76B-4766-500E-E593-975A7F1AACB1}"/>
              </a:ext>
            </a:extLst>
          </p:cNvPr>
          <p:cNvSpPr/>
          <p:nvPr userDrawn="1"/>
        </p:nvSpPr>
        <p:spPr>
          <a:xfrm>
            <a:off x="7673790" y="19137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8DF7DDA-BEB5-DE65-047F-91D652267391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9" name="Picture 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B2D77741-2C46-4293-9116-EE8D58D727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9014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0476" y="4235783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5313" y="4235784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00150" y="4235782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865EFAE0-675D-E4C9-D033-8A31F875BA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99251" y="20198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3" name="Arc 2">
            <a:extLst>
              <a:ext uri="{FF2B5EF4-FFF2-40B4-BE49-F238E27FC236}">
                <a16:creationId xmlns:a16="http://schemas.microsoft.com/office/drawing/2014/main" id="{7845045A-9483-5D3B-15A3-4CF7F6C7FA6E}"/>
              </a:ext>
            </a:extLst>
          </p:cNvPr>
          <p:cNvSpPr/>
          <p:nvPr userDrawn="1"/>
        </p:nvSpPr>
        <p:spPr>
          <a:xfrm>
            <a:off x="1382541" y="18058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21F4F86A-84AA-A12E-2D21-A90F5EE6C440}"/>
              </a:ext>
            </a:extLst>
          </p:cNvPr>
          <p:cNvSpPr/>
          <p:nvPr userDrawn="1"/>
        </p:nvSpPr>
        <p:spPr>
          <a:xfrm>
            <a:off x="1382541" y="18058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2355948A-074D-0627-025D-E49F0D47260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244088" y="20198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72BB7351-96C7-2250-6CBB-28EBF85083B0}"/>
              </a:ext>
            </a:extLst>
          </p:cNvPr>
          <p:cNvSpPr/>
          <p:nvPr userDrawn="1"/>
        </p:nvSpPr>
        <p:spPr>
          <a:xfrm>
            <a:off x="5027378" y="18058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D47057DB-80B0-654D-90EE-BB897C8F3FA9}"/>
              </a:ext>
            </a:extLst>
          </p:cNvPr>
          <p:cNvSpPr/>
          <p:nvPr userDrawn="1"/>
        </p:nvSpPr>
        <p:spPr>
          <a:xfrm>
            <a:off x="5027378" y="18058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4A3248EA-BA76-20C7-B18E-B6A2B03F94D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888925" y="20198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DF9EF6AA-BCCF-16BA-1338-495BC4F6C617}"/>
              </a:ext>
            </a:extLst>
          </p:cNvPr>
          <p:cNvSpPr/>
          <p:nvPr userDrawn="1"/>
        </p:nvSpPr>
        <p:spPr>
          <a:xfrm>
            <a:off x="8672215" y="18058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Arc 17">
            <a:extLst>
              <a:ext uri="{FF2B5EF4-FFF2-40B4-BE49-F238E27FC236}">
                <a16:creationId xmlns:a16="http://schemas.microsoft.com/office/drawing/2014/main" id="{4CF23B48-93C8-82C3-A456-6039B56FA1D5}"/>
              </a:ext>
            </a:extLst>
          </p:cNvPr>
          <p:cNvSpPr/>
          <p:nvPr userDrawn="1"/>
        </p:nvSpPr>
        <p:spPr>
          <a:xfrm>
            <a:off x="8672215" y="18058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DD4DFE0-97B4-36F6-A73C-F1F9C481908D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2A78E71D-C7E5-1F0E-EF17-679E9230F4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700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E83CA09C-F7F6-D239-0FC2-EEFE42B301A3}"/>
              </a:ext>
            </a:extLst>
          </p:cNvPr>
          <p:cNvGrpSpPr/>
          <p:nvPr userDrawn="1"/>
        </p:nvGrpSpPr>
        <p:grpSpPr>
          <a:xfrm rot="10800000">
            <a:off x="155943" y="4802440"/>
            <a:ext cx="6709295" cy="6709295"/>
            <a:chOff x="105150" y="-3122465"/>
            <a:chExt cx="5720108" cy="5720108"/>
          </a:xfrm>
        </p:grpSpPr>
        <p:sp>
          <p:nvSpPr>
            <p:cNvPr id="12" name="Chord 11">
              <a:extLst>
                <a:ext uri="{FF2B5EF4-FFF2-40B4-BE49-F238E27FC236}">
                  <a16:creationId xmlns:a16="http://schemas.microsoft.com/office/drawing/2014/main" id="{F351D202-AF25-4190-0384-B6F125C3DE3F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099984"/>
                <a:gd name="adj2" fmla="val 9758148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7" name="Chord 16">
              <a:extLst>
                <a:ext uri="{FF2B5EF4-FFF2-40B4-BE49-F238E27FC236}">
                  <a16:creationId xmlns:a16="http://schemas.microsoft.com/office/drawing/2014/main" id="{923E6E34-3618-E102-84DB-90C90A122857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379694"/>
                <a:gd name="adj2" fmla="val 9313731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8" name="Chord 17">
              <a:extLst>
                <a:ext uri="{FF2B5EF4-FFF2-40B4-BE49-F238E27FC236}">
                  <a16:creationId xmlns:a16="http://schemas.microsoft.com/office/drawing/2014/main" id="{9BFD6BFF-3BBE-5966-F0D3-4E2B1E9458C3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673024"/>
                <a:gd name="adj2" fmla="val 8811419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06A1C63-B47D-4DA0-563E-CC7A5CB5EFDF}"/>
              </a:ext>
            </a:extLst>
          </p:cNvPr>
          <p:cNvGrpSpPr/>
          <p:nvPr userDrawn="1"/>
        </p:nvGrpSpPr>
        <p:grpSpPr>
          <a:xfrm>
            <a:off x="6113028" y="-2990654"/>
            <a:ext cx="6921331" cy="6921331"/>
            <a:chOff x="105150" y="-3122465"/>
            <a:chExt cx="5720108" cy="5720108"/>
          </a:xfrm>
        </p:grpSpPr>
        <p:sp>
          <p:nvSpPr>
            <p:cNvPr id="20" name="Chord 19">
              <a:extLst>
                <a:ext uri="{FF2B5EF4-FFF2-40B4-BE49-F238E27FC236}">
                  <a16:creationId xmlns:a16="http://schemas.microsoft.com/office/drawing/2014/main" id="{E0EFE96C-76BB-7751-A64D-FBC44244E4EF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20867905"/>
                <a:gd name="adj2" fmla="val 11478846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1" name="Chord 20">
              <a:extLst>
                <a:ext uri="{FF2B5EF4-FFF2-40B4-BE49-F238E27FC236}">
                  <a16:creationId xmlns:a16="http://schemas.microsoft.com/office/drawing/2014/main" id="{B974DD6D-39AC-B1B7-391B-1D2875CD1385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0769818"/>
                <a:gd name="adj2" fmla="val 11622062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2" name="Chord 21">
              <a:extLst>
                <a:ext uri="{FF2B5EF4-FFF2-40B4-BE49-F238E27FC236}">
                  <a16:creationId xmlns:a16="http://schemas.microsoft.com/office/drawing/2014/main" id="{3A01E600-93A0-A395-9BD6-32EDDFF2A71F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656920"/>
                <a:gd name="adj2" fmla="val 11801938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9" name="Picture Placeholder 14">
            <a:extLst>
              <a:ext uri="{FF2B5EF4-FFF2-40B4-BE49-F238E27FC236}">
                <a16:creationId xmlns:a16="http://schemas.microsoft.com/office/drawing/2014/main" id="{F9AC2DE3-FD03-AEC6-C9F0-042940406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986238" y="2252088"/>
            <a:ext cx="3303575" cy="2226435"/>
          </a:xfrm>
          <a:solidFill>
            <a:schemeClr val="tx1">
              <a:lumMod val="85000"/>
              <a:lumOff val="15000"/>
            </a:schemeClr>
          </a:solidFill>
        </p:spPr>
        <p:txBody>
          <a:bodyPr lIns="274320" tIns="274320" rIns="274320" bIns="274320" anchor="ctr">
            <a:normAutofit/>
          </a:bodyPr>
          <a:lstStyle>
            <a:lvl1pPr marL="0" indent="0" algn="ctr">
              <a:buNone/>
              <a:defRPr sz="24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or drag and drop to add a photo here</a:t>
            </a:r>
          </a:p>
        </p:txBody>
      </p:sp>
      <p:pic>
        <p:nvPicPr>
          <p:cNvPr id="14" name="Picture 13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834EB383-490C-4D5A-5390-787502B543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400" y="1191703"/>
            <a:ext cx="2574333" cy="533048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4422CD37-D087-1F67-0339-380F4FF58591}"/>
              </a:ext>
            </a:extLst>
          </p:cNvPr>
          <p:cNvSpPr/>
          <p:nvPr userDrawn="1"/>
        </p:nvSpPr>
        <p:spPr>
          <a:xfrm>
            <a:off x="624263" y="3751217"/>
            <a:ext cx="1512396" cy="73152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047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9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3" name="Subtitle 2">
            <a:extLst>
              <a:ext uri="{FF2B5EF4-FFF2-40B4-BE49-F238E27FC236}">
                <a16:creationId xmlns:a16="http://schemas.microsoft.com/office/drawing/2014/main" id="{FCF1AD06-3443-A603-C773-4D7D7A42923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4056" y="4027685"/>
            <a:ext cx="6261215" cy="429635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20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A923A578-3984-F728-AB5C-A22613190E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4425" y="2013036"/>
            <a:ext cx="6321588" cy="1606653"/>
          </a:xfrm>
        </p:spPr>
        <p:txBody>
          <a:bodyPr lIns="0" rIns="0" anchor="b">
            <a:noAutofit/>
          </a:bodyPr>
          <a:lstStyle>
            <a:lvl1pPr algn="l">
              <a:defRPr sz="3600" b="1" spc="3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Main Presentation Header Goes Here</a:t>
            </a:r>
          </a:p>
        </p:txBody>
      </p:sp>
    </p:spTree>
    <p:extLst>
      <p:ext uri="{BB962C8B-B14F-4D97-AF65-F5344CB8AC3E}">
        <p14:creationId xmlns:p14="http://schemas.microsoft.com/office/powerpoint/2010/main" val="860972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082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30552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2022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3493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916B36FD-E9C7-0EB7-4644-B045FADB85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9280" y="203195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4ED6FD4A-B9F9-0837-DB72-5C770519EEF2}"/>
              </a:ext>
            </a:extLst>
          </p:cNvPr>
          <p:cNvSpPr/>
          <p:nvPr userDrawn="1"/>
        </p:nvSpPr>
        <p:spPr>
          <a:xfrm>
            <a:off x="832570" y="1817943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3879B161-1AE2-FADA-334A-EFF2705442B2}"/>
              </a:ext>
            </a:extLst>
          </p:cNvPr>
          <p:cNvSpPr/>
          <p:nvPr userDrawn="1"/>
        </p:nvSpPr>
        <p:spPr>
          <a:xfrm>
            <a:off x="832570" y="1817943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7328D67A-6990-6860-7D63-8EBD5F23BAC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50750" y="203195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2ED2785D-F10D-C3F1-CD79-DDF830F565C7}"/>
              </a:ext>
            </a:extLst>
          </p:cNvPr>
          <p:cNvSpPr/>
          <p:nvPr userDrawn="1"/>
        </p:nvSpPr>
        <p:spPr>
          <a:xfrm>
            <a:off x="3634040" y="1817943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D57C4C20-7530-E470-7383-AE41F046A1D7}"/>
              </a:ext>
            </a:extLst>
          </p:cNvPr>
          <p:cNvSpPr/>
          <p:nvPr userDrawn="1"/>
        </p:nvSpPr>
        <p:spPr>
          <a:xfrm>
            <a:off x="3634040" y="1817943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D32EAB26-5370-6E5A-64B1-4E63CC98E0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52220" y="203195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C0AD66CC-EC9B-A4CD-A7B9-42ED1646CB6C}"/>
              </a:ext>
            </a:extLst>
          </p:cNvPr>
          <p:cNvSpPr/>
          <p:nvPr userDrawn="1"/>
        </p:nvSpPr>
        <p:spPr>
          <a:xfrm>
            <a:off x="6435510" y="1817943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Arc 22">
            <a:extLst>
              <a:ext uri="{FF2B5EF4-FFF2-40B4-BE49-F238E27FC236}">
                <a16:creationId xmlns:a16="http://schemas.microsoft.com/office/drawing/2014/main" id="{6E724543-4743-391D-133C-C13841B63EA8}"/>
              </a:ext>
            </a:extLst>
          </p:cNvPr>
          <p:cNvSpPr/>
          <p:nvPr userDrawn="1"/>
        </p:nvSpPr>
        <p:spPr>
          <a:xfrm>
            <a:off x="6435510" y="1817943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A422CF18-5A3F-9CEA-0302-225E0F8673C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453691" y="203195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5" name="Arc 24">
            <a:extLst>
              <a:ext uri="{FF2B5EF4-FFF2-40B4-BE49-F238E27FC236}">
                <a16:creationId xmlns:a16="http://schemas.microsoft.com/office/drawing/2014/main" id="{77D2335B-E767-A773-6A8A-16A2CC76473A}"/>
              </a:ext>
            </a:extLst>
          </p:cNvPr>
          <p:cNvSpPr/>
          <p:nvPr userDrawn="1"/>
        </p:nvSpPr>
        <p:spPr>
          <a:xfrm>
            <a:off x="9236981" y="1817943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Arc 25">
            <a:extLst>
              <a:ext uri="{FF2B5EF4-FFF2-40B4-BE49-F238E27FC236}">
                <a16:creationId xmlns:a16="http://schemas.microsoft.com/office/drawing/2014/main" id="{4232EF04-DFEA-B19B-2994-47F6D5F805CF}"/>
              </a:ext>
            </a:extLst>
          </p:cNvPr>
          <p:cNvSpPr/>
          <p:nvPr userDrawn="1"/>
        </p:nvSpPr>
        <p:spPr>
          <a:xfrm>
            <a:off x="9236981" y="1817943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0DCAA4F-9776-70FE-CFCB-65AFAAC3A1F7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993F3D21-E811-18C1-7DE0-F951D98F48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976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id="{8E6307E9-38D4-6EDA-12AC-65A4378AEFA6}"/>
              </a:ext>
            </a:extLst>
          </p:cNvPr>
          <p:cNvSpPr/>
          <p:nvPr userDrawn="1"/>
        </p:nvSpPr>
        <p:spPr>
          <a:xfrm>
            <a:off x="1925142" y="2385039"/>
            <a:ext cx="3314847" cy="3314847"/>
          </a:xfrm>
          <a:prstGeom prst="ellipse">
            <a:avLst/>
          </a:prstGeom>
          <a:solidFill>
            <a:srgbClr val="55A58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0921E300-150A-3068-6A92-48686570DDC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113983" y="2569262"/>
            <a:ext cx="2937163" cy="2946400"/>
          </a:xfrm>
          <a:prstGeom prst="ellipse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/>
          <a:p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D5AB2659-DAE5-EA62-EE52-D60659DB0D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565596"/>
            <a:ext cx="10972800" cy="507831"/>
          </a:xfrm>
        </p:spPr>
        <p:txBody>
          <a:bodyPr wrap="square" anchor="b">
            <a:spAutoFit/>
          </a:bodyPr>
          <a:lstStyle>
            <a:lvl1pPr algn="ctr">
              <a:defRPr sz="3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to keep one line if possib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3C831053-7667-3331-CC4C-7268C4E2270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1270896"/>
            <a:ext cx="10972800" cy="369332"/>
          </a:xfrm>
        </p:spPr>
        <p:txBody>
          <a:bodyPr wrap="square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4D0DA39-B322-236F-0B8D-C1F2640F72C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1158465"/>
            <a:ext cx="170584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02448" y="2770875"/>
            <a:ext cx="5579952" cy="2543175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  <a:lvl2pPr marL="6351" indent="0">
              <a:buNone/>
              <a:tabLst/>
              <a:defRPr sz="2000">
                <a:solidFill>
                  <a:schemeClr val="accent1"/>
                </a:solidFill>
              </a:defRPr>
            </a:lvl2pPr>
            <a:lvl3pPr marL="6351" indent="0">
              <a:buNone/>
              <a:tabLst/>
              <a:defRPr sz="160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Title</a:t>
            </a:r>
          </a:p>
          <a:p>
            <a:pPr lvl="1"/>
            <a:r>
              <a:rPr lang="en-US"/>
              <a:t>Speaker 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4E256D6E-20C1-4B3E-3E45-82D8C5B7AD79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5" name="Picture 4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EB6DEE1A-7767-AE79-1479-0E27A082EF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672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B938C31-136F-E3FB-281A-3A9C76D977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714" t="-355" r="-937" b="57158"/>
          <a:stretch/>
        </p:blipFill>
        <p:spPr>
          <a:xfrm>
            <a:off x="0" y="4386656"/>
            <a:ext cx="4704080" cy="2471344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A408DD9-D3F6-CF7D-63E6-5B0704F1AB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73987" y="3155178"/>
            <a:ext cx="8244027" cy="553998"/>
          </a:xfrm>
        </p:spPr>
        <p:txBody>
          <a:bodyPr wrap="square" lIns="0" rIns="0" anchor="ctr">
            <a:spAutoFit/>
          </a:bodyPr>
          <a:lstStyle>
            <a:lvl1pPr algn="ctr">
              <a:lnSpc>
                <a:spcPct val="100000"/>
              </a:lnSpc>
              <a:defRPr sz="3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656979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B938C31-136F-E3FB-281A-3A9C76D977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714" t="-355" r="-937" b="57158"/>
          <a:stretch/>
        </p:blipFill>
        <p:spPr>
          <a:xfrm>
            <a:off x="0" y="4386656"/>
            <a:ext cx="4704080" cy="247134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AE647DC-5977-5FDE-D0BC-58A33AB621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55263" r="11846"/>
          <a:stretch/>
        </p:blipFill>
        <p:spPr>
          <a:xfrm>
            <a:off x="7294880" y="0"/>
            <a:ext cx="4897120" cy="248525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59B427A-D01D-8479-F562-412923A6CD9A}"/>
              </a:ext>
            </a:extLst>
          </p:cNvPr>
          <p:cNvSpPr/>
          <p:nvPr userDrawn="1"/>
        </p:nvSpPr>
        <p:spPr>
          <a:xfrm>
            <a:off x="5339802" y="3536897"/>
            <a:ext cx="1512396" cy="73152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047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9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1710B9BE-7A8C-BDD1-A5B9-BC375947024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965393" y="3813365"/>
            <a:ext cx="6261215" cy="429635"/>
          </a:xfrm>
        </p:spPr>
        <p:txBody>
          <a:bodyPr lIns="0" rIns="0">
            <a:normAutofit/>
          </a:bodyPr>
          <a:lstStyle>
            <a:lvl1pPr marL="0" indent="0" algn="ctr">
              <a:buNone/>
              <a:defRPr sz="20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C61348C-1DBF-8DC1-15B5-EA29ABE2458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271439" y="1798716"/>
            <a:ext cx="7649122" cy="1606653"/>
          </a:xfrm>
        </p:spPr>
        <p:txBody>
          <a:bodyPr lIns="0" rIns="0" anchor="b">
            <a:noAutofit/>
          </a:bodyPr>
          <a:lstStyle>
            <a:lvl1pPr algn="ctr">
              <a:defRPr sz="3600" b="1" spc="3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1098365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>
            <a:extLst>
              <a:ext uri="{FF2B5EF4-FFF2-40B4-BE49-F238E27FC236}">
                <a16:creationId xmlns:a16="http://schemas.microsoft.com/office/drawing/2014/main" id="{F2E01A5F-CFD5-6ACC-749D-FE85CA8A087F}"/>
              </a:ext>
            </a:extLst>
          </p:cNvPr>
          <p:cNvGrpSpPr/>
          <p:nvPr userDrawn="1"/>
        </p:nvGrpSpPr>
        <p:grpSpPr>
          <a:xfrm>
            <a:off x="5681270" y="302627"/>
            <a:ext cx="6267156" cy="6267156"/>
            <a:chOff x="4239686" y="333300"/>
            <a:chExt cx="4700367" cy="4700367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B64A0D2A-373A-7719-3B17-0D6B51577171}"/>
                </a:ext>
              </a:extLst>
            </p:cNvPr>
            <p:cNvSpPr/>
            <p:nvPr userDrawn="1"/>
          </p:nvSpPr>
          <p:spPr>
            <a:xfrm>
              <a:off x="4239686" y="333300"/>
              <a:ext cx="4700367" cy="4700367"/>
            </a:xfrm>
            <a:prstGeom prst="ellipse">
              <a:avLst/>
            </a:prstGeom>
            <a:solidFill>
              <a:schemeClr val="accent2">
                <a:alpha val="4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A952CF0-FC0B-E391-6F86-F7C943EA59A1}"/>
                </a:ext>
              </a:extLst>
            </p:cNvPr>
            <p:cNvSpPr/>
            <p:nvPr userDrawn="1"/>
          </p:nvSpPr>
          <p:spPr>
            <a:xfrm>
              <a:off x="4642353" y="735967"/>
              <a:ext cx="3895032" cy="3895032"/>
            </a:xfrm>
            <a:prstGeom prst="ellipse">
              <a:avLst/>
            </a:prstGeom>
            <a:solidFill>
              <a:schemeClr val="accent2">
                <a:alpha val="4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A9335B6E-3356-76DF-A18D-25E5609184C7}"/>
                </a:ext>
              </a:extLst>
            </p:cNvPr>
            <p:cNvSpPr/>
            <p:nvPr userDrawn="1"/>
          </p:nvSpPr>
          <p:spPr>
            <a:xfrm>
              <a:off x="5111481" y="1205095"/>
              <a:ext cx="2956776" cy="2956776"/>
            </a:xfrm>
            <a:prstGeom prst="ellipse">
              <a:avLst/>
            </a:prstGeom>
            <a:solidFill>
              <a:schemeClr val="accent2">
                <a:alpha val="4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B5A9E4D-0D92-5ED2-F736-186687CB9B3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816186" y="2005819"/>
            <a:ext cx="3997325" cy="2693987"/>
          </a:xfrm>
          <a:solidFill>
            <a:schemeClr val="tx1">
              <a:lumMod val="85000"/>
              <a:lumOff val="15000"/>
            </a:schemeClr>
          </a:solidFill>
        </p:spPr>
        <p:txBody>
          <a:bodyPr anchor="ctr"/>
          <a:lstStyle>
            <a:lvl1pPr marL="0" indent="0" algn="ctr">
              <a:buFont typeface="+mj-lt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or drag and drop to add a photo he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A9863EB-9441-BA9A-FFD4-53ACF01937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25949"/>
            <a:ext cx="4901739" cy="647479"/>
          </a:xfrm>
        </p:spPr>
        <p:txBody>
          <a:bodyPr anchor="b">
            <a:normAutofit/>
          </a:bodyPr>
          <a:lstStyle>
            <a:lvl1pPr marL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EE68DFBF-17CA-0739-79DF-2440B97548E6}"/>
              </a:ext>
            </a:extLst>
          </p:cNvPr>
          <p:cNvSpPr>
            <a:spLocks noGrp="1"/>
          </p:cNvSpPr>
          <p:nvPr>
            <p:ph type="subTitle" idx="11" hasCustomPrompt="1"/>
          </p:nvPr>
        </p:nvSpPr>
        <p:spPr>
          <a:xfrm>
            <a:off x="609600" y="1270896"/>
            <a:ext cx="4975723" cy="429635"/>
          </a:xfrm>
        </p:spPr>
        <p:txBody>
          <a:bodyPr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EBBA20E-019A-2171-093E-3C27A5DC1DB7}"/>
              </a:ext>
            </a:extLst>
          </p:cNvPr>
          <p:cNvCxnSpPr>
            <a:cxnSpLocks/>
          </p:cNvCxnSpPr>
          <p:nvPr userDrawn="1"/>
        </p:nvCxnSpPr>
        <p:spPr>
          <a:xfrm>
            <a:off x="609601" y="1143951"/>
            <a:ext cx="170584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E386C030-BFEB-D345-347F-47BE7D01D924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EC6927A1-766E-1772-29E6-E7CCA318AC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991372"/>
            <a:ext cx="4975722" cy="4108639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lang="en-US" sz="2400"/>
              <a:t>Click to edit text</a:t>
            </a:r>
          </a:p>
          <a:p>
            <a:pPr marL="406390" lvl="1" indent="-242882"/>
            <a:r>
              <a:rPr lang="en-US" sz="2000"/>
              <a:t>Second level</a:t>
            </a:r>
          </a:p>
          <a:p>
            <a:pPr marL="744520" lvl="2" indent="-220657"/>
            <a:r>
              <a:rPr lang="en-US" sz="1800"/>
              <a:t>Third level</a:t>
            </a:r>
          </a:p>
          <a:p>
            <a:pPr marL="1206470" lvl="3" indent="-234945"/>
            <a:r>
              <a:rPr lang="en-US" sz="1600"/>
              <a:t>Fourth level</a:t>
            </a:r>
          </a:p>
          <a:p>
            <a:pPr marL="1716045" lvl="4" indent="-227008"/>
            <a:r>
              <a:rPr lang="en-US" sz="160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00773B9-2439-C632-D988-D99A1BC4BE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8000" y="6336719"/>
            <a:ext cx="1854798" cy="401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688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763ACAB-1522-193C-3DDA-37705A61E9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65"/>
          <a:stretch/>
        </p:blipFill>
        <p:spPr>
          <a:xfrm>
            <a:off x="5710845" y="2328611"/>
            <a:ext cx="6548847" cy="4567135"/>
          </a:xfrm>
          <a:prstGeom prst="rect">
            <a:avLst/>
          </a:prstGeom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B5A9E4D-0D92-5ED2-F736-186687CB9B3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10942" y="1250811"/>
            <a:ext cx="2348653" cy="4354232"/>
          </a:xfrm>
          <a:solidFill>
            <a:schemeClr val="tx1">
              <a:lumMod val="85000"/>
              <a:lumOff val="15000"/>
            </a:schemeClr>
          </a:solidFill>
        </p:spPr>
        <p:txBody>
          <a:bodyPr>
            <a:normAutofit/>
          </a:bodyPr>
          <a:lstStyle>
            <a:lvl1pPr marL="0" indent="0" algn="ctr">
              <a:buFont typeface="Courier New" panose="02070309020205020404" pitchFamily="49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or drag and drop to add a photo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84051A-F5E8-B8E9-42DB-D54E1877C3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25949"/>
            <a:ext cx="4901739" cy="647479"/>
          </a:xfrm>
        </p:spPr>
        <p:txBody>
          <a:bodyPr anchor="b">
            <a:normAutofit/>
          </a:bodyPr>
          <a:lstStyle>
            <a:lvl1pPr marL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EF8B57CF-7189-F8B7-8FAC-F58B7B42FC7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991372"/>
            <a:ext cx="4975722" cy="4108639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lang="en-US" sz="2400"/>
              <a:t>Click to edit text</a:t>
            </a:r>
          </a:p>
          <a:p>
            <a:pPr marL="406390" lvl="1" indent="-242882"/>
            <a:r>
              <a:rPr lang="en-US" sz="2000"/>
              <a:t>Second level</a:t>
            </a:r>
          </a:p>
          <a:p>
            <a:pPr marL="744520" lvl="2" indent="-220657"/>
            <a:r>
              <a:rPr lang="en-US" sz="1800"/>
              <a:t>Third level</a:t>
            </a:r>
          </a:p>
          <a:p>
            <a:pPr marL="1206470" lvl="3" indent="-234945"/>
            <a:r>
              <a:rPr lang="en-US" sz="1600"/>
              <a:t>Fourth level</a:t>
            </a:r>
          </a:p>
          <a:p>
            <a:pPr marL="1716045" lvl="4" indent="-227008"/>
            <a:r>
              <a:rPr lang="en-US" sz="160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BE5355E-61BB-A1AD-AF31-8C88AE18AFDF}"/>
              </a:ext>
            </a:extLst>
          </p:cNvPr>
          <p:cNvCxnSpPr>
            <a:cxnSpLocks/>
          </p:cNvCxnSpPr>
          <p:nvPr userDrawn="1"/>
        </p:nvCxnSpPr>
        <p:spPr>
          <a:xfrm>
            <a:off x="609601" y="1143951"/>
            <a:ext cx="170584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2" name="Subtitle 2">
            <a:extLst>
              <a:ext uri="{FF2B5EF4-FFF2-40B4-BE49-F238E27FC236}">
                <a16:creationId xmlns:a16="http://schemas.microsoft.com/office/drawing/2014/main" id="{D096D4C4-A273-CCF1-6CED-146BBAD57BDF}"/>
              </a:ext>
            </a:extLst>
          </p:cNvPr>
          <p:cNvSpPr>
            <a:spLocks noGrp="1"/>
          </p:cNvSpPr>
          <p:nvPr>
            <p:ph type="subTitle" idx="11" hasCustomPrompt="1"/>
          </p:nvPr>
        </p:nvSpPr>
        <p:spPr>
          <a:xfrm>
            <a:off x="609600" y="1270896"/>
            <a:ext cx="4975723" cy="429635"/>
          </a:xfrm>
        </p:spPr>
        <p:txBody>
          <a:bodyPr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C43C367-CAEE-8D03-057A-26117CF23E48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2FDAD5B-5EF1-81FB-2EDF-B9D85AAD846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8000" y="6336719"/>
            <a:ext cx="1854798" cy="401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272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764B6067-6702-4074-7FAB-A147E7E11249}"/>
              </a:ext>
            </a:extLst>
          </p:cNvPr>
          <p:cNvGrpSpPr/>
          <p:nvPr userDrawn="1"/>
        </p:nvGrpSpPr>
        <p:grpSpPr>
          <a:xfrm rot="10800000">
            <a:off x="12033" y="4830966"/>
            <a:ext cx="6921331" cy="6921331"/>
            <a:chOff x="105150" y="-3122465"/>
            <a:chExt cx="5720108" cy="5720108"/>
          </a:xfrm>
        </p:grpSpPr>
        <p:sp>
          <p:nvSpPr>
            <p:cNvPr id="4" name="Chord 3">
              <a:extLst>
                <a:ext uri="{FF2B5EF4-FFF2-40B4-BE49-F238E27FC236}">
                  <a16:creationId xmlns:a16="http://schemas.microsoft.com/office/drawing/2014/main" id="{85666469-221D-0EE9-55D1-C24978C0921D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7" name="Chord 6">
              <a:extLst>
                <a:ext uri="{FF2B5EF4-FFF2-40B4-BE49-F238E27FC236}">
                  <a16:creationId xmlns:a16="http://schemas.microsoft.com/office/drawing/2014/main" id="{D08426C2-4774-21FA-C178-C85FD5ECEB96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9" name="Chord 8">
              <a:extLst>
                <a:ext uri="{FF2B5EF4-FFF2-40B4-BE49-F238E27FC236}">
                  <a16:creationId xmlns:a16="http://schemas.microsoft.com/office/drawing/2014/main" id="{A00BA81F-098D-F1CB-5410-26823CEFEAA7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73D7F78-6E24-C853-88D7-82DDB031AFA6}"/>
              </a:ext>
            </a:extLst>
          </p:cNvPr>
          <p:cNvGrpSpPr/>
          <p:nvPr userDrawn="1"/>
        </p:nvGrpSpPr>
        <p:grpSpPr>
          <a:xfrm>
            <a:off x="6064163" y="-3899901"/>
            <a:ext cx="7613464" cy="7613464"/>
            <a:chOff x="105150" y="-3122465"/>
            <a:chExt cx="5720108" cy="5720108"/>
          </a:xfrm>
        </p:grpSpPr>
        <p:sp>
          <p:nvSpPr>
            <p:cNvPr id="13" name="Chord 12">
              <a:extLst>
                <a:ext uri="{FF2B5EF4-FFF2-40B4-BE49-F238E27FC236}">
                  <a16:creationId xmlns:a16="http://schemas.microsoft.com/office/drawing/2014/main" id="{91EB0702-921C-08D3-A185-DD69CB4ADE27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4" name="Chord 13">
              <a:extLst>
                <a:ext uri="{FF2B5EF4-FFF2-40B4-BE49-F238E27FC236}">
                  <a16:creationId xmlns:a16="http://schemas.microsoft.com/office/drawing/2014/main" id="{D8722D47-37FC-3CA2-8458-CC595801012A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5" name="Chord 14">
              <a:extLst>
                <a:ext uri="{FF2B5EF4-FFF2-40B4-BE49-F238E27FC236}">
                  <a16:creationId xmlns:a16="http://schemas.microsoft.com/office/drawing/2014/main" id="{F57013E6-1300-C68C-F61C-A5531DCA8E24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472C3C59-EACF-1047-1DBE-2DE26A38A3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146926" y="1479552"/>
            <a:ext cx="3948113" cy="3948113"/>
          </a:xfrm>
        </p:spPr>
        <p:txBody>
          <a:bodyPr lIns="274320" tIns="274320" rIns="274320" bIns="274320"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or drag and drop to add a photo here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86F1C63-E372-31AB-92A2-6ED61A32FFDF}"/>
              </a:ext>
            </a:extLst>
          </p:cNvPr>
          <p:cNvSpPr/>
          <p:nvPr userDrawn="1"/>
        </p:nvSpPr>
        <p:spPr>
          <a:xfrm>
            <a:off x="624263" y="3766983"/>
            <a:ext cx="1512396" cy="5486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047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9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8" name="Picture 17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FA358863-BE81-3FE9-B582-FCF88EA161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400" y="1191703"/>
            <a:ext cx="2574333" cy="533048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011CC4DD-D589-D23D-C647-951BD405362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2211" y="2013036"/>
            <a:ext cx="6321588" cy="1606653"/>
          </a:xfrm>
        </p:spPr>
        <p:txBody>
          <a:bodyPr anchor="b">
            <a:noAutofit/>
          </a:bodyPr>
          <a:lstStyle>
            <a:lvl1pPr algn="l">
              <a:defRPr sz="3600" b="1" spc="3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Main Presentation Header Goes Here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7BFBEFDF-0120-C89B-8D76-E495E2DA5E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3374" y="4027685"/>
            <a:ext cx="6261215" cy="429635"/>
          </a:xfrm>
        </p:spPr>
        <p:txBody>
          <a:bodyPr>
            <a:normAutofit/>
          </a:bodyPr>
          <a:lstStyle>
            <a:lvl1pPr marL="0" indent="0" algn="l" defTabSz="91438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039007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6FE82EB0-CBD7-2D0B-C6B1-A6936ED2D309}"/>
              </a:ext>
            </a:extLst>
          </p:cNvPr>
          <p:cNvGrpSpPr/>
          <p:nvPr userDrawn="1"/>
        </p:nvGrpSpPr>
        <p:grpSpPr>
          <a:xfrm rot="10800000">
            <a:off x="12033" y="4830966"/>
            <a:ext cx="6921331" cy="6921331"/>
            <a:chOff x="105150" y="-3122465"/>
            <a:chExt cx="5720108" cy="5720108"/>
          </a:xfrm>
        </p:grpSpPr>
        <p:sp>
          <p:nvSpPr>
            <p:cNvPr id="4" name="Chord 3">
              <a:extLst>
                <a:ext uri="{FF2B5EF4-FFF2-40B4-BE49-F238E27FC236}">
                  <a16:creationId xmlns:a16="http://schemas.microsoft.com/office/drawing/2014/main" id="{91109E17-A178-B8EA-9D2F-97A2424C4425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7" name="Chord 6">
              <a:extLst>
                <a:ext uri="{FF2B5EF4-FFF2-40B4-BE49-F238E27FC236}">
                  <a16:creationId xmlns:a16="http://schemas.microsoft.com/office/drawing/2014/main" id="{D7E9EBE7-DB67-86C8-B69B-626C99F7E8EA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0" name="Chord 9">
              <a:extLst>
                <a:ext uri="{FF2B5EF4-FFF2-40B4-BE49-F238E27FC236}">
                  <a16:creationId xmlns:a16="http://schemas.microsoft.com/office/drawing/2014/main" id="{EDB7AF74-16C7-3F72-4249-F523BDB52B9A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7F8399D-A95B-64F4-95AB-4EB930006752}"/>
              </a:ext>
            </a:extLst>
          </p:cNvPr>
          <p:cNvGrpSpPr/>
          <p:nvPr userDrawn="1"/>
        </p:nvGrpSpPr>
        <p:grpSpPr>
          <a:xfrm>
            <a:off x="6064163" y="-3899901"/>
            <a:ext cx="7613464" cy="7613464"/>
            <a:chOff x="105150" y="-3122465"/>
            <a:chExt cx="5720108" cy="5720108"/>
          </a:xfrm>
        </p:grpSpPr>
        <p:sp>
          <p:nvSpPr>
            <p:cNvPr id="14" name="Chord 13">
              <a:extLst>
                <a:ext uri="{FF2B5EF4-FFF2-40B4-BE49-F238E27FC236}">
                  <a16:creationId xmlns:a16="http://schemas.microsoft.com/office/drawing/2014/main" id="{6C3C85BE-EB38-6AA2-577D-00585304B5F4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5" name="Chord 14">
              <a:extLst>
                <a:ext uri="{FF2B5EF4-FFF2-40B4-BE49-F238E27FC236}">
                  <a16:creationId xmlns:a16="http://schemas.microsoft.com/office/drawing/2014/main" id="{8F8089ED-0D58-35D1-F0BB-A547C703A387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6" name="Chord 15">
              <a:extLst>
                <a:ext uri="{FF2B5EF4-FFF2-40B4-BE49-F238E27FC236}">
                  <a16:creationId xmlns:a16="http://schemas.microsoft.com/office/drawing/2014/main" id="{C5CD82C6-7E1C-CEEC-0B22-F437263D277E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1580203"/>
                <a:gd name="adj2" fmla="val 10806197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9" name="Picture Placeholder 14">
            <a:extLst>
              <a:ext uri="{FF2B5EF4-FFF2-40B4-BE49-F238E27FC236}">
                <a16:creationId xmlns:a16="http://schemas.microsoft.com/office/drawing/2014/main" id="{F9AC2DE3-FD03-AEC6-C9F0-042940406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986238" y="2252088"/>
            <a:ext cx="3303575" cy="2226435"/>
          </a:xfrm>
          <a:solidFill>
            <a:schemeClr val="tx1">
              <a:lumMod val="85000"/>
              <a:lumOff val="15000"/>
            </a:schemeClr>
          </a:solidFill>
        </p:spPr>
        <p:txBody>
          <a:bodyPr lIns="274320" tIns="274320" rIns="274320" bIns="274320" anchor="ctr">
            <a:normAutofit/>
          </a:bodyPr>
          <a:lstStyle>
            <a:lvl1pPr marL="0" indent="0" algn="ctr">
              <a:buNone/>
              <a:defRPr sz="24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or drag and drop to add a photo her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1F2709E-F330-E5A2-DB47-35C1B48F4ACA}"/>
              </a:ext>
            </a:extLst>
          </p:cNvPr>
          <p:cNvSpPr/>
          <p:nvPr userDrawn="1"/>
        </p:nvSpPr>
        <p:spPr>
          <a:xfrm>
            <a:off x="624263" y="3766983"/>
            <a:ext cx="1512396" cy="5486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047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9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8" name="Picture 17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BA0795C0-8A7E-0DA1-4E9C-8B7C6E0387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400" y="1191703"/>
            <a:ext cx="2574333" cy="533048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1939266D-8647-F19F-1B02-0E3FBD1CCD5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2211" y="2013036"/>
            <a:ext cx="6321588" cy="1606653"/>
          </a:xfrm>
        </p:spPr>
        <p:txBody>
          <a:bodyPr anchor="b">
            <a:noAutofit/>
          </a:bodyPr>
          <a:lstStyle>
            <a:lvl1pPr algn="l">
              <a:defRPr sz="3600" b="1" spc="3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Main Presentation Header Goes Here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FD2557DA-A600-B6A1-9B11-305CC75794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3374" y="4027685"/>
            <a:ext cx="6261215" cy="429635"/>
          </a:xfrm>
        </p:spPr>
        <p:txBody>
          <a:bodyPr>
            <a:normAutofit/>
          </a:bodyPr>
          <a:lstStyle>
            <a:lvl1pPr marL="0" indent="0" algn="l" defTabSz="91438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362854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F1B9A8F4-FF2A-C17D-636C-DF4EF9F81BE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9" y="-12494"/>
            <a:ext cx="7008812" cy="6857999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FA51DE-7532-C7A0-7644-BD29DE2944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425949"/>
            <a:ext cx="4573588" cy="647479"/>
          </a:xfrm>
        </p:spPr>
        <p:txBody>
          <a:bodyPr lIns="0" rIns="0" anchor="b">
            <a:normAutofit/>
          </a:bodyPr>
          <a:lstStyle>
            <a:lvl1pPr marL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9C7A9A-C71F-0AD7-C087-5ED72221F9A1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9600" y="1329888"/>
            <a:ext cx="4573589" cy="429635"/>
          </a:xfrm>
        </p:spPr>
        <p:txBody>
          <a:bodyPr lIns="0" rIns="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4" name="Text Placeholder 16">
            <a:extLst>
              <a:ext uri="{FF2B5EF4-FFF2-40B4-BE49-F238E27FC236}">
                <a16:creationId xmlns:a16="http://schemas.microsoft.com/office/drawing/2014/main" id="{BBF5C10D-C295-CCC8-9110-4F1E3A22CF1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8653" y="2183524"/>
            <a:ext cx="4573588" cy="4106917"/>
          </a:xfrm>
        </p:spPr>
        <p:txBody>
          <a:bodyPr lIns="0" rIns="0">
            <a:norm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lang="en-US" sz="2400"/>
              <a:t>Click to edit text</a:t>
            </a:r>
          </a:p>
          <a:p>
            <a:pPr marL="406390" lvl="1" indent="-242882"/>
            <a:r>
              <a:rPr lang="en-US" sz="2000"/>
              <a:t>Second level</a:t>
            </a:r>
          </a:p>
          <a:p>
            <a:pPr marL="744520" lvl="2" indent="-220657"/>
            <a:r>
              <a:rPr lang="en-US" sz="1800"/>
              <a:t>Third level</a:t>
            </a:r>
          </a:p>
          <a:p>
            <a:pPr marL="1206470" lvl="3" indent="-234945"/>
            <a:r>
              <a:rPr lang="en-US" sz="1600"/>
              <a:t>Fourth level</a:t>
            </a:r>
          </a:p>
          <a:p>
            <a:pPr marL="1716045" lvl="4" indent="-227008"/>
            <a:r>
              <a:rPr lang="en-US" sz="1600"/>
              <a:t>Fifth lev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2D62C7E-36C2-CF50-074B-6EF09363533A}"/>
              </a:ext>
            </a:extLst>
          </p:cNvPr>
          <p:cNvCxnSpPr>
            <a:cxnSpLocks/>
          </p:cNvCxnSpPr>
          <p:nvPr userDrawn="1"/>
        </p:nvCxnSpPr>
        <p:spPr>
          <a:xfrm>
            <a:off x="609601" y="1143951"/>
            <a:ext cx="170584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7" name="Picture 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6890C071-7CFC-7FB1-51E7-1DF1A1FD2E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92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E792C904-6D3F-7049-E16B-A517431BA00A}"/>
              </a:ext>
            </a:extLst>
          </p:cNvPr>
          <p:cNvGrpSpPr/>
          <p:nvPr userDrawn="1"/>
        </p:nvGrpSpPr>
        <p:grpSpPr>
          <a:xfrm>
            <a:off x="2111936" y="1946571"/>
            <a:ext cx="7994074" cy="3244839"/>
            <a:chOff x="2112828" y="2299855"/>
            <a:chExt cx="7994074" cy="3244839"/>
          </a:xfrm>
        </p:grpSpPr>
        <p:sp>
          <p:nvSpPr>
            <p:cNvPr id="16" name="Donut 1">
              <a:extLst>
                <a:ext uri="{FF2B5EF4-FFF2-40B4-BE49-F238E27FC236}">
                  <a16:creationId xmlns:a16="http://schemas.microsoft.com/office/drawing/2014/main" id="{29EAA267-F1DE-E6D7-E14F-DE04912AEB1E}"/>
                </a:ext>
              </a:extLst>
            </p:cNvPr>
            <p:cNvSpPr/>
            <p:nvPr/>
          </p:nvSpPr>
          <p:spPr>
            <a:xfrm>
              <a:off x="2112828" y="2299855"/>
              <a:ext cx="2258290" cy="2258290"/>
            </a:xfrm>
            <a:prstGeom prst="donut">
              <a:avLst/>
            </a:prstGeom>
            <a:solidFill>
              <a:srgbClr val="E46A4C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Donut 2">
              <a:extLst>
                <a:ext uri="{FF2B5EF4-FFF2-40B4-BE49-F238E27FC236}">
                  <a16:creationId xmlns:a16="http://schemas.microsoft.com/office/drawing/2014/main" id="{AAF79A26-6B45-6BAE-29DB-7B84348947F2}"/>
                </a:ext>
              </a:extLst>
            </p:cNvPr>
            <p:cNvSpPr/>
            <p:nvPr/>
          </p:nvSpPr>
          <p:spPr>
            <a:xfrm>
              <a:off x="4024756" y="2299855"/>
              <a:ext cx="2258290" cy="2258290"/>
            </a:xfrm>
            <a:prstGeom prst="donut">
              <a:avLst/>
            </a:prstGeom>
            <a:solidFill>
              <a:srgbClr val="449FD3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8" name="Donut 3">
              <a:extLst>
                <a:ext uri="{FF2B5EF4-FFF2-40B4-BE49-F238E27FC236}">
                  <a16:creationId xmlns:a16="http://schemas.microsoft.com/office/drawing/2014/main" id="{292A2CE3-9EBB-D39F-4FA3-704CEE159F80}"/>
                </a:ext>
              </a:extLst>
            </p:cNvPr>
            <p:cNvSpPr/>
            <p:nvPr/>
          </p:nvSpPr>
          <p:spPr>
            <a:xfrm>
              <a:off x="5936684" y="2299855"/>
              <a:ext cx="2258290" cy="2258290"/>
            </a:xfrm>
            <a:prstGeom prst="donut">
              <a:avLst/>
            </a:prstGeom>
            <a:solidFill>
              <a:srgbClr val="EF2745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9" name="Donut 4">
              <a:extLst>
                <a:ext uri="{FF2B5EF4-FFF2-40B4-BE49-F238E27FC236}">
                  <a16:creationId xmlns:a16="http://schemas.microsoft.com/office/drawing/2014/main" id="{F07FC13F-13EA-A422-8F4D-28D1FBE9B62C}"/>
                </a:ext>
              </a:extLst>
            </p:cNvPr>
            <p:cNvSpPr/>
            <p:nvPr/>
          </p:nvSpPr>
          <p:spPr>
            <a:xfrm>
              <a:off x="7848612" y="2299855"/>
              <a:ext cx="2258290" cy="2258290"/>
            </a:xfrm>
            <a:prstGeom prst="donut">
              <a:avLst/>
            </a:prstGeom>
            <a:solidFill>
              <a:srgbClr val="55A585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F374D1B1-1B86-E296-8897-B6A1A6EA9ED0}"/>
                </a:ext>
              </a:extLst>
            </p:cNvPr>
            <p:cNvCxnSpPr>
              <a:stCxn id="16" idx="4"/>
            </p:cNvCxnSpPr>
            <p:nvPr/>
          </p:nvCxnSpPr>
          <p:spPr>
            <a:xfrm>
              <a:off x="3241973" y="4558145"/>
              <a:ext cx="13845" cy="900546"/>
            </a:xfrm>
            <a:prstGeom prst="line">
              <a:avLst/>
            </a:prstGeom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86FB087E-0C64-A923-9DCD-D3C29022BDCE}"/>
                </a:ext>
              </a:extLst>
            </p:cNvPr>
            <p:cNvCxnSpPr/>
            <p:nvPr/>
          </p:nvCxnSpPr>
          <p:spPr>
            <a:xfrm>
              <a:off x="5195464" y="4558145"/>
              <a:ext cx="13845" cy="900546"/>
            </a:xfrm>
            <a:prstGeom prst="line">
              <a:avLst/>
            </a:prstGeom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A4CA9070-7D2A-E86F-D360-2781F6EDDB48}"/>
                </a:ext>
              </a:extLst>
            </p:cNvPr>
            <p:cNvCxnSpPr/>
            <p:nvPr/>
          </p:nvCxnSpPr>
          <p:spPr>
            <a:xfrm>
              <a:off x="7135100" y="4558145"/>
              <a:ext cx="13845" cy="900546"/>
            </a:xfrm>
            <a:prstGeom prst="line">
              <a:avLst/>
            </a:prstGeom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20AC551F-57C5-2570-AF66-DB69A924132F}"/>
                </a:ext>
              </a:extLst>
            </p:cNvPr>
            <p:cNvCxnSpPr/>
            <p:nvPr/>
          </p:nvCxnSpPr>
          <p:spPr>
            <a:xfrm>
              <a:off x="9005464" y="4558145"/>
              <a:ext cx="13845" cy="900546"/>
            </a:xfrm>
            <a:prstGeom prst="line">
              <a:avLst/>
            </a:prstGeom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1CE678D1-4863-87F6-A55D-238A9A1927D0}"/>
                </a:ext>
              </a:extLst>
            </p:cNvPr>
            <p:cNvSpPr/>
            <p:nvPr/>
          </p:nvSpPr>
          <p:spPr>
            <a:xfrm>
              <a:off x="3182185" y="5384835"/>
              <a:ext cx="147711" cy="147711"/>
            </a:xfrm>
            <a:prstGeom prst="ellipse">
              <a:avLst/>
            </a:prstGeom>
            <a:solidFill>
              <a:srgbClr val="E46A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A17EF16D-9DA9-BB3E-BCD4-2ED6E28B73DF}"/>
                </a:ext>
              </a:extLst>
            </p:cNvPr>
            <p:cNvSpPr/>
            <p:nvPr/>
          </p:nvSpPr>
          <p:spPr>
            <a:xfrm>
              <a:off x="5134564" y="5396983"/>
              <a:ext cx="147711" cy="147711"/>
            </a:xfrm>
            <a:prstGeom prst="ellipse">
              <a:avLst/>
            </a:prstGeom>
            <a:solidFill>
              <a:srgbClr val="449F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2677EED-243C-1ED7-B1E7-50962E1AB24E}"/>
                </a:ext>
              </a:extLst>
            </p:cNvPr>
            <p:cNvSpPr/>
            <p:nvPr/>
          </p:nvSpPr>
          <p:spPr>
            <a:xfrm>
              <a:off x="7086943" y="5384835"/>
              <a:ext cx="147711" cy="147711"/>
            </a:xfrm>
            <a:prstGeom prst="ellipse">
              <a:avLst/>
            </a:prstGeom>
            <a:solidFill>
              <a:srgbClr val="EF27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3FF46A5-B295-BB21-9420-FA98E0BDDAA8}"/>
                </a:ext>
              </a:extLst>
            </p:cNvPr>
            <p:cNvSpPr/>
            <p:nvPr/>
          </p:nvSpPr>
          <p:spPr>
            <a:xfrm>
              <a:off x="8964577" y="5396983"/>
              <a:ext cx="147711" cy="147711"/>
            </a:xfrm>
            <a:prstGeom prst="ellipse">
              <a:avLst/>
            </a:prstGeom>
            <a:solidFill>
              <a:srgbClr val="55A58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74EAA7F9-BE49-8BBF-5450-9433954A5F0C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3" name="Picture 2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D681D2CB-9AFA-2460-344B-35DB73A899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E05A2E6D-CD76-FE67-0129-3C31D58B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2A059BF0-E108-CAD6-AF3F-84B0B34824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263F545-A849-F2DA-60F1-B41A95875CD3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26459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935E4FC1-D9B2-38F0-73C2-BB274C7794EB}"/>
              </a:ext>
            </a:extLst>
          </p:cNvPr>
          <p:cNvGrpSpPr/>
          <p:nvPr userDrawn="1"/>
        </p:nvGrpSpPr>
        <p:grpSpPr>
          <a:xfrm rot="10800000">
            <a:off x="155943" y="4802440"/>
            <a:ext cx="6709295" cy="6709295"/>
            <a:chOff x="105150" y="-3122465"/>
            <a:chExt cx="5720108" cy="5720108"/>
          </a:xfrm>
        </p:grpSpPr>
        <p:sp>
          <p:nvSpPr>
            <p:cNvPr id="12" name="Chord 11">
              <a:extLst>
                <a:ext uri="{FF2B5EF4-FFF2-40B4-BE49-F238E27FC236}">
                  <a16:creationId xmlns:a16="http://schemas.microsoft.com/office/drawing/2014/main" id="{94FCF53E-8D80-6E96-1296-1053F5E54789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099984"/>
                <a:gd name="adj2" fmla="val 9758148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7" name="Chord 16">
              <a:extLst>
                <a:ext uri="{FF2B5EF4-FFF2-40B4-BE49-F238E27FC236}">
                  <a16:creationId xmlns:a16="http://schemas.microsoft.com/office/drawing/2014/main" id="{10B93B93-99FF-66B2-3FAE-6642EE0B6F05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379694"/>
                <a:gd name="adj2" fmla="val 9313731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8" name="Chord 17">
              <a:extLst>
                <a:ext uri="{FF2B5EF4-FFF2-40B4-BE49-F238E27FC236}">
                  <a16:creationId xmlns:a16="http://schemas.microsoft.com/office/drawing/2014/main" id="{F163443C-1794-EB37-8579-CA4796CCE157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673024"/>
                <a:gd name="adj2" fmla="val 8811419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7DA82DA-E6F1-E8D0-2E21-67C66D3E7FDE}"/>
              </a:ext>
            </a:extLst>
          </p:cNvPr>
          <p:cNvGrpSpPr/>
          <p:nvPr userDrawn="1"/>
        </p:nvGrpSpPr>
        <p:grpSpPr>
          <a:xfrm>
            <a:off x="6113028" y="-2990654"/>
            <a:ext cx="6921331" cy="6921331"/>
            <a:chOff x="105150" y="-3122465"/>
            <a:chExt cx="5720108" cy="5720108"/>
          </a:xfrm>
        </p:grpSpPr>
        <p:sp>
          <p:nvSpPr>
            <p:cNvPr id="20" name="Chord 19">
              <a:extLst>
                <a:ext uri="{FF2B5EF4-FFF2-40B4-BE49-F238E27FC236}">
                  <a16:creationId xmlns:a16="http://schemas.microsoft.com/office/drawing/2014/main" id="{8273F197-9146-A087-47E5-D3A651249E88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20867905"/>
                <a:gd name="adj2" fmla="val 11478846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1" name="Chord 20">
              <a:extLst>
                <a:ext uri="{FF2B5EF4-FFF2-40B4-BE49-F238E27FC236}">
                  <a16:creationId xmlns:a16="http://schemas.microsoft.com/office/drawing/2014/main" id="{AEB79B34-EEDF-D861-905B-4B9D3A684250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0769818"/>
                <a:gd name="adj2" fmla="val 11622062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2" name="Chord 21">
              <a:extLst>
                <a:ext uri="{FF2B5EF4-FFF2-40B4-BE49-F238E27FC236}">
                  <a16:creationId xmlns:a16="http://schemas.microsoft.com/office/drawing/2014/main" id="{7C374662-275A-B45F-6684-0FD720E82827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656920"/>
                <a:gd name="adj2" fmla="val 11801938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16" name="Picture Placeholder 14">
            <a:extLst>
              <a:ext uri="{FF2B5EF4-FFF2-40B4-BE49-F238E27FC236}">
                <a16:creationId xmlns:a16="http://schemas.microsoft.com/office/drawing/2014/main" id="{88DCEBFB-7466-68BA-6983-155DE6720FE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338038" y="1655286"/>
            <a:ext cx="1527071" cy="2733725"/>
          </a:xfrm>
          <a:solidFill>
            <a:schemeClr val="tx1">
              <a:lumMod val="85000"/>
              <a:lumOff val="1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or drag and drop to add a photo here</a:t>
            </a:r>
          </a:p>
        </p:txBody>
      </p:sp>
      <p:pic>
        <p:nvPicPr>
          <p:cNvPr id="4" name="Picture 3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52C1118A-86EE-6F17-5943-5B3527D36D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400" y="1191703"/>
            <a:ext cx="2574333" cy="533048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A7C5959F-9B5E-99CC-13A4-7B5F46D4834A}"/>
              </a:ext>
            </a:extLst>
          </p:cNvPr>
          <p:cNvSpPr/>
          <p:nvPr userDrawn="1"/>
        </p:nvSpPr>
        <p:spPr>
          <a:xfrm>
            <a:off x="624263" y="3751217"/>
            <a:ext cx="1512396" cy="73152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047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9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F8026F92-EB32-1C1B-977E-ECC35FBC0A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4056" y="4027685"/>
            <a:ext cx="6261215" cy="429635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20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B5C64E12-468A-9C1F-8BED-613FC0D395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4425" y="2013036"/>
            <a:ext cx="6321588" cy="1606653"/>
          </a:xfrm>
        </p:spPr>
        <p:txBody>
          <a:bodyPr lIns="0" rIns="0" anchor="b">
            <a:noAutofit/>
          </a:bodyPr>
          <a:lstStyle>
            <a:lvl1pPr algn="l">
              <a:defRPr sz="3600" b="1" spc="3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Main Presentation Header Goes Here</a:t>
            </a:r>
          </a:p>
        </p:txBody>
      </p:sp>
    </p:spTree>
    <p:extLst>
      <p:ext uri="{BB962C8B-B14F-4D97-AF65-F5344CB8AC3E}">
        <p14:creationId xmlns:p14="http://schemas.microsoft.com/office/powerpoint/2010/main" val="2983896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onut 1">
            <a:extLst>
              <a:ext uri="{FF2B5EF4-FFF2-40B4-BE49-F238E27FC236}">
                <a16:creationId xmlns:a16="http://schemas.microsoft.com/office/drawing/2014/main" id="{29EAA267-F1DE-E6D7-E14F-DE04912AEB1E}"/>
              </a:ext>
            </a:extLst>
          </p:cNvPr>
          <p:cNvSpPr/>
          <p:nvPr/>
        </p:nvSpPr>
        <p:spPr>
          <a:xfrm>
            <a:off x="2098963" y="1696267"/>
            <a:ext cx="2258290" cy="2258290"/>
          </a:xfrm>
          <a:prstGeom prst="donut">
            <a:avLst/>
          </a:prstGeom>
          <a:solidFill>
            <a:srgbClr val="E46A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Donut 2">
            <a:extLst>
              <a:ext uri="{FF2B5EF4-FFF2-40B4-BE49-F238E27FC236}">
                <a16:creationId xmlns:a16="http://schemas.microsoft.com/office/drawing/2014/main" id="{AAF79A26-6B45-6BAE-29DB-7B84348947F2}"/>
              </a:ext>
            </a:extLst>
          </p:cNvPr>
          <p:cNvSpPr/>
          <p:nvPr/>
        </p:nvSpPr>
        <p:spPr>
          <a:xfrm>
            <a:off x="4010891" y="1696267"/>
            <a:ext cx="2258290" cy="2258290"/>
          </a:xfrm>
          <a:prstGeom prst="donut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8" name="Donut 3">
            <a:extLst>
              <a:ext uri="{FF2B5EF4-FFF2-40B4-BE49-F238E27FC236}">
                <a16:creationId xmlns:a16="http://schemas.microsoft.com/office/drawing/2014/main" id="{292A2CE3-9EBB-D39F-4FA3-704CEE159F80}"/>
              </a:ext>
            </a:extLst>
          </p:cNvPr>
          <p:cNvSpPr/>
          <p:nvPr/>
        </p:nvSpPr>
        <p:spPr>
          <a:xfrm>
            <a:off x="5922819" y="1696267"/>
            <a:ext cx="2258290" cy="2258290"/>
          </a:xfrm>
          <a:prstGeom prst="donut">
            <a:avLst/>
          </a:prstGeom>
          <a:solidFill>
            <a:schemeClr val="accent5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Donut 4">
            <a:extLst>
              <a:ext uri="{FF2B5EF4-FFF2-40B4-BE49-F238E27FC236}">
                <a16:creationId xmlns:a16="http://schemas.microsoft.com/office/drawing/2014/main" id="{F07FC13F-13EA-A422-8F4D-28D1FBE9B62C}"/>
              </a:ext>
            </a:extLst>
          </p:cNvPr>
          <p:cNvSpPr/>
          <p:nvPr/>
        </p:nvSpPr>
        <p:spPr>
          <a:xfrm>
            <a:off x="7834747" y="1696267"/>
            <a:ext cx="2258290" cy="2258290"/>
          </a:xfrm>
          <a:prstGeom prst="donut">
            <a:avLst/>
          </a:prstGeom>
          <a:solidFill>
            <a:schemeClr val="accent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374D1B1-1B86-E296-8897-B6A1A6EA9ED0}"/>
              </a:ext>
            </a:extLst>
          </p:cNvPr>
          <p:cNvCxnSpPr>
            <a:cxnSpLocks/>
          </p:cNvCxnSpPr>
          <p:nvPr/>
        </p:nvCxnSpPr>
        <p:spPr>
          <a:xfrm>
            <a:off x="3221186" y="3954557"/>
            <a:ext cx="13845" cy="4572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6FB087E-0C64-A923-9DCD-D3C29022BDCE}"/>
              </a:ext>
            </a:extLst>
          </p:cNvPr>
          <p:cNvCxnSpPr>
            <a:cxnSpLocks/>
          </p:cNvCxnSpPr>
          <p:nvPr/>
        </p:nvCxnSpPr>
        <p:spPr>
          <a:xfrm>
            <a:off x="5133114" y="3954557"/>
            <a:ext cx="13845" cy="4572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4CA9070-7D2A-E86F-D360-2781F6EDDB48}"/>
              </a:ext>
            </a:extLst>
          </p:cNvPr>
          <p:cNvCxnSpPr>
            <a:cxnSpLocks/>
          </p:cNvCxnSpPr>
          <p:nvPr/>
        </p:nvCxnSpPr>
        <p:spPr>
          <a:xfrm>
            <a:off x="7045042" y="3954557"/>
            <a:ext cx="13845" cy="4572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0AC551F-57C5-2570-AF66-DB69A924132F}"/>
              </a:ext>
            </a:extLst>
          </p:cNvPr>
          <p:cNvCxnSpPr>
            <a:cxnSpLocks/>
          </p:cNvCxnSpPr>
          <p:nvPr/>
        </p:nvCxnSpPr>
        <p:spPr>
          <a:xfrm>
            <a:off x="8956970" y="3954557"/>
            <a:ext cx="13845" cy="4572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4" name="Oval 23">
            <a:extLst>
              <a:ext uri="{FF2B5EF4-FFF2-40B4-BE49-F238E27FC236}">
                <a16:creationId xmlns:a16="http://schemas.microsoft.com/office/drawing/2014/main" id="{1CE678D1-4863-87F6-A55D-238A9A1927D0}"/>
              </a:ext>
            </a:extLst>
          </p:cNvPr>
          <p:cNvSpPr/>
          <p:nvPr/>
        </p:nvSpPr>
        <p:spPr>
          <a:xfrm>
            <a:off x="3154253" y="4360257"/>
            <a:ext cx="147711" cy="147711"/>
          </a:xfrm>
          <a:prstGeom prst="ellipse">
            <a:avLst/>
          </a:prstGeom>
          <a:solidFill>
            <a:srgbClr val="E46A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A17EF16D-9DA9-BB3E-BCD4-2ED6E28B73DF}"/>
              </a:ext>
            </a:extLst>
          </p:cNvPr>
          <p:cNvSpPr/>
          <p:nvPr/>
        </p:nvSpPr>
        <p:spPr>
          <a:xfrm>
            <a:off x="5066181" y="4360257"/>
            <a:ext cx="147711" cy="14771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92677EED-243C-1ED7-B1E7-50962E1AB24E}"/>
              </a:ext>
            </a:extLst>
          </p:cNvPr>
          <p:cNvSpPr/>
          <p:nvPr/>
        </p:nvSpPr>
        <p:spPr>
          <a:xfrm>
            <a:off x="6978109" y="4360257"/>
            <a:ext cx="147711" cy="14771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43FF46A5-B295-BB21-9420-FA98E0BDDAA8}"/>
              </a:ext>
            </a:extLst>
          </p:cNvPr>
          <p:cNvSpPr/>
          <p:nvPr/>
        </p:nvSpPr>
        <p:spPr>
          <a:xfrm>
            <a:off x="8890037" y="4360257"/>
            <a:ext cx="147711" cy="14771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7DB50A8-040E-7AE9-175B-48D79F9B4CB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AEBB24CA-DD74-90EA-27C9-C8838B60A7D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73BE879-7F4F-AE2A-9F54-B56E3A88AF89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FBAC93B0-44BB-06C0-F404-B1BBAA32851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310273" y="4544107"/>
            <a:ext cx="18356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3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806DAFEA-12BD-C23D-64E9-BEA4BF231A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2201" y="4544107"/>
            <a:ext cx="18356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4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9BEAC6FB-65A2-F87E-9655-263755164D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34129" y="4544107"/>
            <a:ext cx="18356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5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0DA26839-A8C5-D4A2-1AF7-8BFCF47838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46057" y="4544107"/>
            <a:ext cx="18356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2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2C4CC46-15A3-871F-9574-C7339763D857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9" name="Picture 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136ACC0C-B530-0AC6-BFBC-EC3F3D3EC7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11985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ED5A6D23-8728-CF79-6790-BB825F24CBA8}"/>
              </a:ext>
            </a:extLst>
          </p:cNvPr>
          <p:cNvGrpSpPr/>
          <p:nvPr userDrawn="1"/>
        </p:nvGrpSpPr>
        <p:grpSpPr>
          <a:xfrm>
            <a:off x="2608291" y="1679353"/>
            <a:ext cx="6975417" cy="3224649"/>
            <a:chOff x="2098963" y="1696267"/>
            <a:chExt cx="6082146" cy="2811701"/>
          </a:xfrm>
        </p:grpSpPr>
        <p:sp>
          <p:nvSpPr>
            <p:cNvPr id="16" name="Donut 1">
              <a:extLst>
                <a:ext uri="{FF2B5EF4-FFF2-40B4-BE49-F238E27FC236}">
                  <a16:creationId xmlns:a16="http://schemas.microsoft.com/office/drawing/2014/main" id="{29EAA267-F1DE-E6D7-E14F-DE04912AEB1E}"/>
                </a:ext>
              </a:extLst>
            </p:cNvPr>
            <p:cNvSpPr/>
            <p:nvPr/>
          </p:nvSpPr>
          <p:spPr>
            <a:xfrm>
              <a:off x="2098963" y="1696267"/>
              <a:ext cx="2258290" cy="2258290"/>
            </a:xfrm>
            <a:prstGeom prst="donut">
              <a:avLst/>
            </a:prstGeom>
            <a:solidFill>
              <a:schemeClr val="accent4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Donut 2">
              <a:extLst>
                <a:ext uri="{FF2B5EF4-FFF2-40B4-BE49-F238E27FC236}">
                  <a16:creationId xmlns:a16="http://schemas.microsoft.com/office/drawing/2014/main" id="{AAF79A26-6B45-6BAE-29DB-7B84348947F2}"/>
                </a:ext>
              </a:extLst>
            </p:cNvPr>
            <p:cNvSpPr/>
            <p:nvPr/>
          </p:nvSpPr>
          <p:spPr>
            <a:xfrm>
              <a:off x="4010891" y="1696267"/>
              <a:ext cx="2258290" cy="2258290"/>
            </a:xfrm>
            <a:prstGeom prst="donut">
              <a:avLst/>
            </a:prstGeom>
            <a:solidFill>
              <a:srgbClr val="449FD3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8" name="Donut 3">
              <a:extLst>
                <a:ext uri="{FF2B5EF4-FFF2-40B4-BE49-F238E27FC236}">
                  <a16:creationId xmlns:a16="http://schemas.microsoft.com/office/drawing/2014/main" id="{292A2CE3-9EBB-D39F-4FA3-704CEE159F80}"/>
                </a:ext>
              </a:extLst>
            </p:cNvPr>
            <p:cNvSpPr/>
            <p:nvPr/>
          </p:nvSpPr>
          <p:spPr>
            <a:xfrm>
              <a:off x="5922819" y="1696267"/>
              <a:ext cx="2258290" cy="2258290"/>
            </a:xfrm>
            <a:prstGeom prst="donut">
              <a:avLst/>
            </a:prstGeom>
            <a:solidFill>
              <a:srgbClr val="EF2745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F374D1B1-1B86-E296-8897-B6A1A6EA9ED0}"/>
                </a:ext>
              </a:extLst>
            </p:cNvPr>
            <p:cNvCxnSpPr>
              <a:cxnSpLocks/>
            </p:cNvCxnSpPr>
            <p:nvPr/>
          </p:nvCxnSpPr>
          <p:spPr>
            <a:xfrm>
              <a:off x="3221186" y="3954557"/>
              <a:ext cx="13845" cy="4572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86FB087E-0C64-A923-9DCD-D3C29022BDCE}"/>
                </a:ext>
              </a:extLst>
            </p:cNvPr>
            <p:cNvCxnSpPr>
              <a:cxnSpLocks/>
            </p:cNvCxnSpPr>
            <p:nvPr/>
          </p:nvCxnSpPr>
          <p:spPr>
            <a:xfrm>
              <a:off x="5133114" y="3954557"/>
              <a:ext cx="13845" cy="4572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A4CA9070-7D2A-E86F-D360-2781F6EDDB48}"/>
                </a:ext>
              </a:extLst>
            </p:cNvPr>
            <p:cNvCxnSpPr>
              <a:cxnSpLocks/>
            </p:cNvCxnSpPr>
            <p:nvPr/>
          </p:nvCxnSpPr>
          <p:spPr>
            <a:xfrm>
              <a:off x="7045042" y="3954557"/>
              <a:ext cx="13845" cy="4572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1CE678D1-4863-87F6-A55D-238A9A1927D0}"/>
                </a:ext>
              </a:extLst>
            </p:cNvPr>
            <p:cNvSpPr/>
            <p:nvPr/>
          </p:nvSpPr>
          <p:spPr>
            <a:xfrm>
              <a:off x="3154253" y="4360257"/>
              <a:ext cx="147711" cy="14771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A17EF16D-9DA9-BB3E-BCD4-2ED6E28B73DF}"/>
                </a:ext>
              </a:extLst>
            </p:cNvPr>
            <p:cNvSpPr/>
            <p:nvPr/>
          </p:nvSpPr>
          <p:spPr>
            <a:xfrm>
              <a:off x="5066181" y="4360257"/>
              <a:ext cx="147711" cy="147711"/>
            </a:xfrm>
            <a:prstGeom prst="ellipse">
              <a:avLst/>
            </a:prstGeom>
            <a:solidFill>
              <a:srgbClr val="449F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2677EED-243C-1ED7-B1E7-50962E1AB24E}"/>
                </a:ext>
              </a:extLst>
            </p:cNvPr>
            <p:cNvSpPr/>
            <p:nvPr/>
          </p:nvSpPr>
          <p:spPr>
            <a:xfrm>
              <a:off x="6978109" y="4360257"/>
              <a:ext cx="147711" cy="147711"/>
            </a:xfrm>
            <a:prstGeom prst="ellipse">
              <a:avLst/>
            </a:prstGeom>
            <a:solidFill>
              <a:srgbClr val="EF27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67DB50A8-040E-7AE9-175B-48D79F9B4CB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AEBB24CA-DD74-90EA-27C9-C8838B60A7D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73BE879-7F4F-AE2A-9F54-B56E3A88AF89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FBAC93B0-44BB-06C0-F404-B1BBAA32851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92256" y="5073501"/>
            <a:ext cx="2019238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4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806DAFEA-12BD-C23D-64E9-BEA4BF231A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80914" y="5073501"/>
            <a:ext cx="2019238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5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9BEAC6FB-65A2-F87E-9655-263755164D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69566" y="5073501"/>
            <a:ext cx="2019238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2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3010DD8-3A01-BF0F-C090-BCB252E0B449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0" name="Picture 9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2C856F2-B8AE-7601-0A2A-EE5CEF86D4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5628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43553D30-4766-529D-2173-BEC6BE0F8F99}"/>
              </a:ext>
            </a:extLst>
          </p:cNvPr>
          <p:cNvGrpSpPr/>
          <p:nvPr userDrawn="1"/>
        </p:nvGrpSpPr>
        <p:grpSpPr>
          <a:xfrm>
            <a:off x="743204" y="1937591"/>
            <a:ext cx="10702221" cy="2106109"/>
            <a:chOff x="2178142" y="3414075"/>
            <a:chExt cx="7393944" cy="1600574"/>
          </a:xfrm>
        </p:grpSpPr>
        <p:sp>
          <p:nvSpPr>
            <p:cNvPr id="4" name="Arc 3">
              <a:extLst>
                <a:ext uri="{FF2B5EF4-FFF2-40B4-BE49-F238E27FC236}">
                  <a16:creationId xmlns:a16="http://schemas.microsoft.com/office/drawing/2014/main" id="{D2CE1FB9-9EB5-C3D4-4955-138C2129B7B7}"/>
                </a:ext>
              </a:extLst>
            </p:cNvPr>
            <p:cNvSpPr/>
            <p:nvPr userDrawn="1"/>
          </p:nvSpPr>
          <p:spPr>
            <a:xfrm rot="5400000">
              <a:off x="2118284" y="3473933"/>
              <a:ext cx="1600574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B20E7215-898F-DCB1-C639-0A72F79D5029}"/>
                </a:ext>
              </a:extLst>
            </p:cNvPr>
            <p:cNvSpPr/>
            <p:nvPr userDrawn="1"/>
          </p:nvSpPr>
          <p:spPr>
            <a:xfrm>
              <a:off x="2417087" y="3690561"/>
              <a:ext cx="982292" cy="1044969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89AA68E-2CAC-D2A9-7F5F-F0B55C31EC14}"/>
                </a:ext>
              </a:extLst>
            </p:cNvPr>
            <p:cNvSpPr/>
            <p:nvPr userDrawn="1"/>
          </p:nvSpPr>
          <p:spPr>
            <a:xfrm>
              <a:off x="2564649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8" name="Arc 7">
              <a:extLst>
                <a:ext uri="{FF2B5EF4-FFF2-40B4-BE49-F238E27FC236}">
                  <a16:creationId xmlns:a16="http://schemas.microsoft.com/office/drawing/2014/main" id="{E8AC7485-3873-CB04-C612-18FDD56DFAC0}"/>
                </a:ext>
              </a:extLst>
            </p:cNvPr>
            <p:cNvSpPr/>
            <p:nvPr userDrawn="1"/>
          </p:nvSpPr>
          <p:spPr>
            <a:xfrm rot="16200000" flipV="1">
              <a:off x="3601416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BE0B488-C312-D0A6-99DD-92A9DF4CF6D7}"/>
                </a:ext>
              </a:extLst>
            </p:cNvPr>
            <p:cNvSpPr/>
            <p:nvPr userDrawn="1"/>
          </p:nvSpPr>
          <p:spPr>
            <a:xfrm>
              <a:off x="3897944" y="3690561"/>
              <a:ext cx="982292" cy="1044969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B006BF5-7484-B530-2D9A-D7E9F2FE5FC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045506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1" name="Arc 10">
              <a:extLst>
                <a:ext uri="{FF2B5EF4-FFF2-40B4-BE49-F238E27FC236}">
                  <a16:creationId xmlns:a16="http://schemas.microsoft.com/office/drawing/2014/main" id="{4D61BD23-0B63-7384-7F40-8D5E62211949}"/>
                </a:ext>
              </a:extLst>
            </p:cNvPr>
            <p:cNvSpPr/>
            <p:nvPr userDrawn="1"/>
          </p:nvSpPr>
          <p:spPr>
            <a:xfrm rot="5400000">
              <a:off x="5082272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76AD417-6F39-EA64-1869-4FE6FA07AC1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378800" y="3690561"/>
              <a:ext cx="982292" cy="1044969"/>
            </a:xfrm>
            <a:prstGeom prst="ellipse">
              <a:avLst/>
            </a:prstGeom>
            <a:solidFill>
              <a:srgbClr val="449F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5647DECC-9C4A-9A1F-7E7C-65BA8E62E6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526362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4" name="Arc 13">
              <a:extLst>
                <a:ext uri="{FF2B5EF4-FFF2-40B4-BE49-F238E27FC236}">
                  <a16:creationId xmlns:a16="http://schemas.microsoft.com/office/drawing/2014/main" id="{EF79F630-EF63-FC32-3B93-386BA2EADEC3}"/>
                </a:ext>
              </a:extLst>
            </p:cNvPr>
            <p:cNvSpPr/>
            <p:nvPr userDrawn="1"/>
          </p:nvSpPr>
          <p:spPr>
            <a:xfrm rot="16200000" flipV="1">
              <a:off x="6563127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DA01F7-55B2-8A30-8456-1673C13E7CED}"/>
                </a:ext>
              </a:extLst>
            </p:cNvPr>
            <p:cNvSpPr/>
            <p:nvPr userDrawn="1"/>
          </p:nvSpPr>
          <p:spPr>
            <a:xfrm>
              <a:off x="6859657" y="3690561"/>
              <a:ext cx="982292" cy="1044969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18FF04E-9210-0B0D-48DA-385864CF3E9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07219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4" name="Arc 33">
              <a:extLst>
                <a:ext uri="{FF2B5EF4-FFF2-40B4-BE49-F238E27FC236}">
                  <a16:creationId xmlns:a16="http://schemas.microsoft.com/office/drawing/2014/main" id="{46838F00-7324-34FC-8EAD-DCC679C43CD9}"/>
                </a:ext>
              </a:extLst>
            </p:cNvPr>
            <p:cNvSpPr/>
            <p:nvPr userDrawn="1"/>
          </p:nvSpPr>
          <p:spPr>
            <a:xfrm rot="5400000">
              <a:off x="8043983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823FAEB6-0CB7-F579-9F26-8249FC4C9A56}"/>
                </a:ext>
              </a:extLst>
            </p:cNvPr>
            <p:cNvSpPr/>
            <p:nvPr userDrawn="1"/>
          </p:nvSpPr>
          <p:spPr>
            <a:xfrm>
              <a:off x="8340512" y="3690561"/>
              <a:ext cx="982292" cy="1044969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6BF8EC73-6666-76C6-5924-434DD4F96F3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88074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852FB09A-3665-E521-75DD-EF565E95E7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4E8F612-AD1D-9947-5B52-42C596F7B6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85A4E17-9555-4F25-877F-AD696DD754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E65BBF9F-8BC0-53CF-6884-402C962A2F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48617" y="4225624"/>
            <a:ext cx="1989556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4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7FAFEDB8-AA43-300C-5F44-1212B09AE0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92054" y="4225624"/>
            <a:ext cx="1989556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5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2DEB531D-1C46-1623-980B-01D7DEC8B1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78927" y="4225624"/>
            <a:ext cx="1989556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D37A4795-9688-183E-1BA6-5547803FF2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5180" y="4225624"/>
            <a:ext cx="1989556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3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66A96AD-E374-2812-8189-6DC521AE54B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35491" y="4225624"/>
            <a:ext cx="1989556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2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93418B82-E633-FB41-8A11-9AFEC918E667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9" name="Picture 1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F178A63D-3316-BDB3-D846-E59455E2B7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24022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43553D30-4766-529D-2173-BEC6BE0F8F99}"/>
              </a:ext>
            </a:extLst>
          </p:cNvPr>
          <p:cNvGrpSpPr/>
          <p:nvPr userDrawn="1"/>
        </p:nvGrpSpPr>
        <p:grpSpPr>
          <a:xfrm>
            <a:off x="1383895" y="1972086"/>
            <a:ext cx="9424210" cy="2319069"/>
            <a:chOff x="2178142" y="3414075"/>
            <a:chExt cx="5913088" cy="1600574"/>
          </a:xfrm>
        </p:grpSpPr>
        <p:sp>
          <p:nvSpPr>
            <p:cNvPr id="4" name="Arc 3">
              <a:extLst>
                <a:ext uri="{FF2B5EF4-FFF2-40B4-BE49-F238E27FC236}">
                  <a16:creationId xmlns:a16="http://schemas.microsoft.com/office/drawing/2014/main" id="{D2CE1FB9-9EB5-C3D4-4955-138C2129B7B7}"/>
                </a:ext>
              </a:extLst>
            </p:cNvPr>
            <p:cNvSpPr/>
            <p:nvPr userDrawn="1"/>
          </p:nvSpPr>
          <p:spPr>
            <a:xfrm rot="5400000">
              <a:off x="2118284" y="3473933"/>
              <a:ext cx="1600574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B20E7215-898F-DCB1-C639-0A72F79D5029}"/>
                </a:ext>
              </a:extLst>
            </p:cNvPr>
            <p:cNvSpPr/>
            <p:nvPr userDrawn="1"/>
          </p:nvSpPr>
          <p:spPr>
            <a:xfrm>
              <a:off x="2417087" y="3690561"/>
              <a:ext cx="982292" cy="1044969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89AA68E-2CAC-D2A9-7F5F-F0B55C31EC14}"/>
                </a:ext>
              </a:extLst>
            </p:cNvPr>
            <p:cNvSpPr/>
            <p:nvPr userDrawn="1"/>
          </p:nvSpPr>
          <p:spPr>
            <a:xfrm>
              <a:off x="2564649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8" name="Arc 7">
              <a:extLst>
                <a:ext uri="{FF2B5EF4-FFF2-40B4-BE49-F238E27FC236}">
                  <a16:creationId xmlns:a16="http://schemas.microsoft.com/office/drawing/2014/main" id="{E8AC7485-3873-CB04-C612-18FDD56DFAC0}"/>
                </a:ext>
              </a:extLst>
            </p:cNvPr>
            <p:cNvSpPr/>
            <p:nvPr userDrawn="1"/>
          </p:nvSpPr>
          <p:spPr>
            <a:xfrm rot="16200000" flipV="1">
              <a:off x="3601416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BE0B488-C312-D0A6-99DD-92A9DF4CF6D7}"/>
                </a:ext>
              </a:extLst>
            </p:cNvPr>
            <p:cNvSpPr/>
            <p:nvPr userDrawn="1"/>
          </p:nvSpPr>
          <p:spPr>
            <a:xfrm>
              <a:off x="3897944" y="3690561"/>
              <a:ext cx="982292" cy="1044969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B006BF5-7484-B530-2D9A-D7E9F2FE5FC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045506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1" name="Arc 10">
              <a:extLst>
                <a:ext uri="{FF2B5EF4-FFF2-40B4-BE49-F238E27FC236}">
                  <a16:creationId xmlns:a16="http://schemas.microsoft.com/office/drawing/2014/main" id="{4D61BD23-0B63-7384-7F40-8D5E62211949}"/>
                </a:ext>
              </a:extLst>
            </p:cNvPr>
            <p:cNvSpPr/>
            <p:nvPr userDrawn="1"/>
          </p:nvSpPr>
          <p:spPr>
            <a:xfrm rot="5400000">
              <a:off x="5082272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76AD417-6F39-EA64-1869-4FE6FA07AC1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378800" y="3690561"/>
              <a:ext cx="982292" cy="1044969"/>
            </a:xfrm>
            <a:prstGeom prst="ellipse">
              <a:avLst/>
            </a:prstGeom>
            <a:solidFill>
              <a:srgbClr val="449F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5647DECC-9C4A-9A1F-7E7C-65BA8E62E6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526362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4" name="Arc 13">
              <a:extLst>
                <a:ext uri="{FF2B5EF4-FFF2-40B4-BE49-F238E27FC236}">
                  <a16:creationId xmlns:a16="http://schemas.microsoft.com/office/drawing/2014/main" id="{EF79F630-EF63-FC32-3B93-386BA2EADEC3}"/>
                </a:ext>
              </a:extLst>
            </p:cNvPr>
            <p:cNvSpPr/>
            <p:nvPr userDrawn="1"/>
          </p:nvSpPr>
          <p:spPr>
            <a:xfrm rot="16200000" flipV="1">
              <a:off x="6563127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DA01F7-55B2-8A30-8456-1673C13E7CED}"/>
                </a:ext>
              </a:extLst>
            </p:cNvPr>
            <p:cNvSpPr/>
            <p:nvPr userDrawn="1"/>
          </p:nvSpPr>
          <p:spPr>
            <a:xfrm>
              <a:off x="6859657" y="3690561"/>
              <a:ext cx="982292" cy="1044969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18FF04E-9210-0B0D-48DA-385864CF3E9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07219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852FB09A-3665-E521-75DD-EF565E95E7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4E8F612-AD1D-9947-5B52-42C596F7B6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85A4E17-9555-4F25-877F-AD696DD754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BA05FBE1-E192-8609-18C7-D5E8756848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3419" y="4454227"/>
            <a:ext cx="2188512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4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417F820B-E215-6D9B-1885-019BC71A05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73591" y="4454227"/>
            <a:ext cx="2188512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5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9D99BD18-4F33-6B86-00A9-4AC73C2D69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33763" y="4454226"/>
            <a:ext cx="2188512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2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C8A9BB75-6A32-32B1-EE01-685F696C893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53247" y="4451140"/>
            <a:ext cx="2188512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3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A98C8EC-1098-E539-62D0-97ECC806DAF7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21" name="Picture 20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E4E2C584-528A-0A2B-29EF-F53909F66C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164128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43553D30-4766-529D-2173-BEC6BE0F8F99}"/>
              </a:ext>
            </a:extLst>
          </p:cNvPr>
          <p:cNvGrpSpPr/>
          <p:nvPr userDrawn="1"/>
        </p:nvGrpSpPr>
        <p:grpSpPr>
          <a:xfrm>
            <a:off x="1806402" y="1772318"/>
            <a:ext cx="8579195" cy="2816482"/>
            <a:chOff x="2178142" y="3414075"/>
            <a:chExt cx="4432233" cy="1600574"/>
          </a:xfrm>
        </p:grpSpPr>
        <p:sp>
          <p:nvSpPr>
            <p:cNvPr id="4" name="Arc 3">
              <a:extLst>
                <a:ext uri="{FF2B5EF4-FFF2-40B4-BE49-F238E27FC236}">
                  <a16:creationId xmlns:a16="http://schemas.microsoft.com/office/drawing/2014/main" id="{D2CE1FB9-9EB5-C3D4-4955-138C2129B7B7}"/>
                </a:ext>
              </a:extLst>
            </p:cNvPr>
            <p:cNvSpPr/>
            <p:nvPr userDrawn="1"/>
          </p:nvSpPr>
          <p:spPr>
            <a:xfrm rot="5400000">
              <a:off x="2118284" y="3473933"/>
              <a:ext cx="1600574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B20E7215-898F-DCB1-C639-0A72F79D5029}"/>
                </a:ext>
              </a:extLst>
            </p:cNvPr>
            <p:cNvSpPr/>
            <p:nvPr userDrawn="1"/>
          </p:nvSpPr>
          <p:spPr>
            <a:xfrm>
              <a:off x="2417087" y="3690561"/>
              <a:ext cx="982292" cy="1044969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89AA68E-2CAC-D2A9-7F5F-F0B55C31EC14}"/>
                </a:ext>
              </a:extLst>
            </p:cNvPr>
            <p:cNvSpPr/>
            <p:nvPr userDrawn="1"/>
          </p:nvSpPr>
          <p:spPr>
            <a:xfrm>
              <a:off x="2564649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8" name="Arc 7">
              <a:extLst>
                <a:ext uri="{FF2B5EF4-FFF2-40B4-BE49-F238E27FC236}">
                  <a16:creationId xmlns:a16="http://schemas.microsoft.com/office/drawing/2014/main" id="{E8AC7485-3873-CB04-C612-18FDD56DFAC0}"/>
                </a:ext>
              </a:extLst>
            </p:cNvPr>
            <p:cNvSpPr/>
            <p:nvPr userDrawn="1"/>
          </p:nvSpPr>
          <p:spPr>
            <a:xfrm rot="16200000" flipV="1">
              <a:off x="3601416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BE0B488-C312-D0A6-99DD-92A9DF4CF6D7}"/>
                </a:ext>
              </a:extLst>
            </p:cNvPr>
            <p:cNvSpPr/>
            <p:nvPr userDrawn="1"/>
          </p:nvSpPr>
          <p:spPr>
            <a:xfrm>
              <a:off x="3897944" y="3690561"/>
              <a:ext cx="982292" cy="1044969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B006BF5-7484-B530-2D9A-D7E9F2FE5FC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045506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1" name="Arc 10">
              <a:extLst>
                <a:ext uri="{FF2B5EF4-FFF2-40B4-BE49-F238E27FC236}">
                  <a16:creationId xmlns:a16="http://schemas.microsoft.com/office/drawing/2014/main" id="{4D61BD23-0B63-7384-7F40-8D5E62211949}"/>
                </a:ext>
              </a:extLst>
            </p:cNvPr>
            <p:cNvSpPr/>
            <p:nvPr userDrawn="1"/>
          </p:nvSpPr>
          <p:spPr>
            <a:xfrm rot="5400000">
              <a:off x="5082272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76AD417-6F39-EA64-1869-4FE6FA07AC1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378800" y="3690561"/>
              <a:ext cx="982292" cy="1044969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5647DECC-9C4A-9A1F-7E7C-65BA8E62E6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526362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852FB09A-3665-E521-75DD-EF565E95E7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4E8F612-AD1D-9947-5B52-42C596F7B6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85A4E17-9555-4F25-877F-AD696DD754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2E118996-3477-7D5A-43AF-52BB22E97D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8344" y="4656806"/>
            <a:ext cx="2648099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2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83E400C5-1768-CCBB-D0F7-A8221C7B89C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895542" y="4656806"/>
            <a:ext cx="2648099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4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270C8C6B-E8C4-AD88-ABFD-9492DDEE2D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61943" y="4656806"/>
            <a:ext cx="2648099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5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0A4CFDD-DB25-DE1D-545B-94520304B103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4" name="Picture 1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F59A6D15-7131-A3DC-D4F1-79FBDDA66D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4699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43553D30-4766-529D-2173-BEC6BE0F8F99}"/>
              </a:ext>
            </a:extLst>
          </p:cNvPr>
          <p:cNvGrpSpPr/>
          <p:nvPr userDrawn="1"/>
        </p:nvGrpSpPr>
        <p:grpSpPr>
          <a:xfrm>
            <a:off x="1449483" y="2563925"/>
            <a:ext cx="8946672" cy="1760631"/>
            <a:chOff x="2178142" y="3414075"/>
            <a:chExt cx="7393944" cy="1600574"/>
          </a:xfrm>
        </p:grpSpPr>
        <p:sp>
          <p:nvSpPr>
            <p:cNvPr id="4" name="Arc 3">
              <a:extLst>
                <a:ext uri="{FF2B5EF4-FFF2-40B4-BE49-F238E27FC236}">
                  <a16:creationId xmlns:a16="http://schemas.microsoft.com/office/drawing/2014/main" id="{D2CE1FB9-9EB5-C3D4-4955-138C2129B7B7}"/>
                </a:ext>
              </a:extLst>
            </p:cNvPr>
            <p:cNvSpPr/>
            <p:nvPr userDrawn="1"/>
          </p:nvSpPr>
          <p:spPr>
            <a:xfrm rot="5400000">
              <a:off x="2118284" y="3473933"/>
              <a:ext cx="1600574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B20E7215-898F-DCB1-C639-0A72F79D5029}"/>
                </a:ext>
              </a:extLst>
            </p:cNvPr>
            <p:cNvSpPr/>
            <p:nvPr userDrawn="1"/>
          </p:nvSpPr>
          <p:spPr>
            <a:xfrm>
              <a:off x="2417087" y="3690561"/>
              <a:ext cx="982292" cy="1044969"/>
            </a:xfrm>
            <a:prstGeom prst="ellipse">
              <a:avLst/>
            </a:prstGeom>
            <a:solidFill>
              <a:srgbClr val="55A58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89AA68E-2CAC-D2A9-7F5F-F0B55C31EC14}"/>
                </a:ext>
              </a:extLst>
            </p:cNvPr>
            <p:cNvSpPr/>
            <p:nvPr userDrawn="1"/>
          </p:nvSpPr>
          <p:spPr>
            <a:xfrm>
              <a:off x="2564649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8" name="Arc 7">
              <a:extLst>
                <a:ext uri="{FF2B5EF4-FFF2-40B4-BE49-F238E27FC236}">
                  <a16:creationId xmlns:a16="http://schemas.microsoft.com/office/drawing/2014/main" id="{E8AC7485-3873-CB04-C612-18FDD56DFAC0}"/>
                </a:ext>
              </a:extLst>
            </p:cNvPr>
            <p:cNvSpPr/>
            <p:nvPr userDrawn="1"/>
          </p:nvSpPr>
          <p:spPr>
            <a:xfrm rot="16200000" flipV="1">
              <a:off x="3601416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BE0B488-C312-D0A6-99DD-92A9DF4CF6D7}"/>
                </a:ext>
              </a:extLst>
            </p:cNvPr>
            <p:cNvSpPr/>
            <p:nvPr userDrawn="1"/>
          </p:nvSpPr>
          <p:spPr>
            <a:xfrm>
              <a:off x="3897944" y="3690561"/>
              <a:ext cx="982292" cy="1044969"/>
            </a:xfrm>
            <a:prstGeom prst="ellipse">
              <a:avLst/>
            </a:prstGeom>
            <a:solidFill>
              <a:srgbClr val="E46A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B006BF5-7484-B530-2D9A-D7E9F2FE5FC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045506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1" name="Arc 10">
              <a:extLst>
                <a:ext uri="{FF2B5EF4-FFF2-40B4-BE49-F238E27FC236}">
                  <a16:creationId xmlns:a16="http://schemas.microsoft.com/office/drawing/2014/main" id="{4D61BD23-0B63-7384-7F40-8D5E62211949}"/>
                </a:ext>
              </a:extLst>
            </p:cNvPr>
            <p:cNvSpPr/>
            <p:nvPr userDrawn="1"/>
          </p:nvSpPr>
          <p:spPr>
            <a:xfrm rot="5400000">
              <a:off x="5082272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76AD417-6F39-EA64-1869-4FE6FA07AC1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378800" y="3690561"/>
              <a:ext cx="982292" cy="1044969"/>
            </a:xfrm>
            <a:prstGeom prst="ellipse">
              <a:avLst/>
            </a:prstGeom>
            <a:solidFill>
              <a:srgbClr val="449F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5647DECC-9C4A-9A1F-7E7C-65BA8E62E6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526362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4" name="Arc 13">
              <a:extLst>
                <a:ext uri="{FF2B5EF4-FFF2-40B4-BE49-F238E27FC236}">
                  <a16:creationId xmlns:a16="http://schemas.microsoft.com/office/drawing/2014/main" id="{EF79F630-EF63-FC32-3B93-386BA2EADEC3}"/>
                </a:ext>
              </a:extLst>
            </p:cNvPr>
            <p:cNvSpPr/>
            <p:nvPr userDrawn="1"/>
          </p:nvSpPr>
          <p:spPr>
            <a:xfrm rot="16200000" flipV="1">
              <a:off x="6563127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DA01F7-55B2-8A30-8456-1673C13E7CED}"/>
                </a:ext>
              </a:extLst>
            </p:cNvPr>
            <p:cNvSpPr/>
            <p:nvPr userDrawn="1"/>
          </p:nvSpPr>
          <p:spPr>
            <a:xfrm>
              <a:off x="6859657" y="3690561"/>
              <a:ext cx="982292" cy="1044969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18FF04E-9210-0B0D-48DA-385864CF3E9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07219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4" name="Arc 33">
              <a:extLst>
                <a:ext uri="{FF2B5EF4-FFF2-40B4-BE49-F238E27FC236}">
                  <a16:creationId xmlns:a16="http://schemas.microsoft.com/office/drawing/2014/main" id="{46838F00-7324-34FC-8EAD-DCC679C43CD9}"/>
                </a:ext>
              </a:extLst>
            </p:cNvPr>
            <p:cNvSpPr/>
            <p:nvPr userDrawn="1"/>
          </p:nvSpPr>
          <p:spPr>
            <a:xfrm rot="5400000">
              <a:off x="8043983" y="3472616"/>
              <a:ext cx="1575347" cy="1480858"/>
            </a:xfrm>
            <a:prstGeom prst="arc">
              <a:avLst>
                <a:gd name="adj1" fmla="val 16200000"/>
                <a:gd name="adj2" fmla="val 5278363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823FAEB6-0CB7-F579-9F26-8249FC4C9A56}"/>
                </a:ext>
              </a:extLst>
            </p:cNvPr>
            <p:cNvSpPr/>
            <p:nvPr userDrawn="1"/>
          </p:nvSpPr>
          <p:spPr>
            <a:xfrm>
              <a:off x="8340512" y="3690561"/>
              <a:ext cx="982292" cy="1044969"/>
            </a:xfrm>
            <a:prstGeom prst="ellipse">
              <a:avLst/>
            </a:prstGeom>
            <a:solidFill>
              <a:srgbClr val="EF27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6BF8EC73-6666-76C6-5924-434DD4F96F3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88074" y="3847539"/>
              <a:ext cx="687166" cy="731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E183DB72-F922-AD9A-DC89-95D2F4D0254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duotone>
                <a:prstClr val="black"/>
                <a:schemeClr val="accent4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727936" y="4025491"/>
              <a:ext cx="352606" cy="375105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E2ADAF83-E68E-A4C6-A104-3ECE2353CB4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duotone>
                <a:prstClr val="black"/>
                <a:schemeClr val="accent4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72704" y="3991150"/>
              <a:ext cx="411233" cy="437472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BD104B35-CCEA-4F89-479D-E50BD64781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99213" y="4024341"/>
              <a:ext cx="344327" cy="366298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09972D72-C0FF-CE54-F11F-C3663C8188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96047" y="4042860"/>
              <a:ext cx="309508" cy="329257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E2D65014-5D05-635C-1040-1BA11DA190A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48495" y="4012640"/>
              <a:ext cx="337914" cy="359475"/>
            </a:xfrm>
            <a:prstGeom prst="rect">
              <a:avLst/>
            </a:prstGeom>
          </p:spPr>
        </p:pic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AB4F4E08-C0CE-42D4-86B4-BFF3414E9A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BF296586-8738-3261-0B68-66DB62395AF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76D4E38-9ACC-A252-EA98-95521249C60C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D0CF93A6-171A-86F3-36F9-48B4884853D4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8" name="Picture 1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0D75DB43-B958-69F6-0408-4099AB0AA64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6504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EB6D3F5-10B6-B97A-1E6A-3036938D46AF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6" name="Picture 5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5DA65333-A350-A58C-96E6-A26A6114DE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82204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340A197-B0CF-A8C5-C319-E3D176DDB6B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11888" y="2006918"/>
            <a:ext cx="5140325" cy="44275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2B7A698-7C39-69C7-1BC3-BEEE03E8382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102376" y="2425649"/>
            <a:ext cx="4365563" cy="402998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20834D4-BB14-6549-4341-428B3646D423}"/>
              </a:ext>
            </a:extLst>
          </p:cNvPr>
          <p:cNvCxnSpPr>
            <a:cxnSpLocks/>
          </p:cNvCxnSpPr>
          <p:nvPr userDrawn="1"/>
        </p:nvCxnSpPr>
        <p:spPr>
          <a:xfrm>
            <a:off x="954706" y="3344657"/>
            <a:ext cx="4660902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80B8BC0-861A-A0E5-CE06-5E521F8D4DD3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102376" y="3857305"/>
            <a:ext cx="4365563" cy="402998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DD8EF5C-F90B-3E5D-B9BA-AF9403DDB293}"/>
              </a:ext>
            </a:extLst>
          </p:cNvPr>
          <p:cNvCxnSpPr>
            <a:cxnSpLocks/>
          </p:cNvCxnSpPr>
          <p:nvPr userDrawn="1"/>
        </p:nvCxnSpPr>
        <p:spPr>
          <a:xfrm>
            <a:off x="954706" y="4772951"/>
            <a:ext cx="4660902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14C4A0C6-C15F-C6ED-E5D0-D215D067BCB6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1102376" y="5375824"/>
            <a:ext cx="4365563" cy="402998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0944825-0D09-9DC6-AD0A-D7BCF4B3D3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7171" y="431627"/>
            <a:ext cx="10357658" cy="641799"/>
          </a:xfrm>
        </p:spPr>
        <p:txBody>
          <a:bodyPr>
            <a:normAutofit/>
          </a:bodyPr>
          <a:lstStyle>
            <a:lvl1pPr algn="ctr">
              <a:defRPr sz="32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881359CD-A82A-EE8F-DF8A-167DCF50C6B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711349" y="1329888"/>
            <a:ext cx="6769303" cy="429635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9D78DC6-4E5F-EE7B-8FCD-7D078BC12E48}"/>
              </a:ext>
            </a:extLst>
          </p:cNvPr>
          <p:cNvCxnSpPr>
            <a:cxnSpLocks/>
          </p:cNvCxnSpPr>
          <p:nvPr userDrawn="1"/>
        </p:nvCxnSpPr>
        <p:spPr>
          <a:xfrm>
            <a:off x="2533130" y="1158465"/>
            <a:ext cx="712574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5553955-B082-A871-2900-7F442751D101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5" name="Picture 4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B8C67E3B-50DA-4C41-FBDC-0D1468CBB1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72966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82E749-FEF8-E73D-2734-29D7B66747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779078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A45516-F4DD-DB78-091D-0C016226BA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6612" y="2776662"/>
            <a:ext cx="5157787" cy="3510916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9E2EE0C-7AB7-D9DA-3642-366610BD03F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779078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AA3B645-278B-5576-C216-83E7E2474EA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67786" y="2776662"/>
            <a:ext cx="5183188" cy="3510916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31C8AA7-6D19-12EF-F24A-6F9F90E0AB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7171" y="431627"/>
            <a:ext cx="10357658" cy="641799"/>
          </a:xfrm>
        </p:spPr>
        <p:txBody>
          <a:bodyPr>
            <a:normAutofit/>
          </a:bodyPr>
          <a:lstStyle>
            <a:lvl1pPr algn="ctr">
              <a:defRPr sz="32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E6DB93C-62F8-3C4C-1EFD-A31568CAF0E7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298768" y="1329888"/>
            <a:ext cx="5594465" cy="429635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430307C-92FD-47E7-390F-3A8BDCAC6375}"/>
              </a:ext>
            </a:extLst>
          </p:cNvPr>
          <p:cNvCxnSpPr>
            <a:cxnSpLocks/>
          </p:cNvCxnSpPr>
          <p:nvPr userDrawn="1"/>
        </p:nvCxnSpPr>
        <p:spPr>
          <a:xfrm>
            <a:off x="2533130" y="1158465"/>
            <a:ext cx="712574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C45664EF-F253-7D94-6712-B25F6837E4AA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990238A-627C-41EE-451E-43A8D7DE2E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94957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0">
            <a:extLst>
              <a:ext uri="{FF2B5EF4-FFF2-40B4-BE49-F238E27FC236}">
                <a16:creationId xmlns:a16="http://schemas.microsoft.com/office/drawing/2014/main" id="{810BDFDA-EE48-88A2-8966-9DFA17417D2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495967" y="2688487"/>
            <a:ext cx="2670148" cy="267854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or drag and drop to add a photo he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B8ADFF3-CB7C-2340-DA65-45BD32B7DA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02448" y="2689225"/>
            <a:ext cx="5579952" cy="2543175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  <a:lvl2pPr marL="6350" indent="0">
              <a:buNone/>
              <a:tabLst/>
              <a:defRPr sz="2000">
                <a:solidFill>
                  <a:schemeClr val="accent1"/>
                </a:solidFill>
              </a:defRPr>
            </a:lvl2pPr>
            <a:lvl3pPr marL="6350" indent="0">
              <a:buNone/>
              <a:tabLst/>
              <a:defRPr sz="160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Title</a:t>
            </a:r>
          </a:p>
          <a:p>
            <a:pPr lvl="1"/>
            <a:r>
              <a:rPr lang="en-US"/>
              <a:t>Speaker 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3302CED5-C97E-1B02-8589-FA67515F098D}"/>
              </a:ext>
            </a:extLst>
          </p:cNvPr>
          <p:cNvSpPr txBox="1">
            <a:spLocks/>
          </p:cNvSpPr>
          <p:nvPr userDrawn="1"/>
        </p:nvSpPr>
        <p:spPr>
          <a:xfrm>
            <a:off x="11517616" y="6499849"/>
            <a:ext cx="476468" cy="183662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B512E09-3C68-D92E-31B9-3A506A981726}"/>
              </a:ext>
            </a:extLst>
          </p:cNvPr>
          <p:cNvSpPr txBox="1"/>
          <p:nvPr userDrawn="1"/>
        </p:nvSpPr>
        <p:spPr>
          <a:xfrm>
            <a:off x="408927" y="6505102"/>
            <a:ext cx="784189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28577"/>
            <a:r>
              <a:rPr lang="en-US" sz="750" err="1">
                <a:solidFill>
                  <a:srgbClr val="000000">
                    <a:lumMod val="65000"/>
                    <a:lumOff val="3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icus.com</a:t>
            </a:r>
            <a:endParaRPr lang="en-US" sz="750">
              <a:solidFill>
                <a:srgbClr val="000000">
                  <a:lumMod val="65000"/>
                  <a:lumOff val="35000"/>
                </a:srgb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ABDE035-E49F-87AD-EBA1-1E78B7B2AB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439" y="6483799"/>
            <a:ext cx="215762" cy="21576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FB03FF5-B6A4-F438-24E2-161FC1CEAD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565595"/>
            <a:ext cx="10972800" cy="507831"/>
          </a:xfrm>
        </p:spPr>
        <p:txBody>
          <a:bodyPr wrap="square" anchor="b">
            <a:spAutoFit/>
          </a:bodyPr>
          <a:lstStyle>
            <a:lvl1pPr algn="ctr">
              <a:defRPr sz="3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ry to keep on one line if possib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24E48C8-3C7F-5B36-F3BC-8D3EE0E4D3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1329888"/>
            <a:ext cx="10972800" cy="369332"/>
          </a:xfrm>
        </p:spPr>
        <p:txBody>
          <a:bodyPr wrap="square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1B9182A-E540-F78D-0355-E0D08D90E33F}"/>
              </a:ext>
            </a:extLst>
          </p:cNvPr>
          <p:cNvCxnSpPr>
            <a:cxnSpLocks/>
          </p:cNvCxnSpPr>
          <p:nvPr userDrawn="1"/>
        </p:nvCxnSpPr>
        <p:spPr>
          <a:xfrm>
            <a:off x="2533130" y="1158465"/>
            <a:ext cx="712574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5240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elay 2">
            <a:extLst>
              <a:ext uri="{FF2B5EF4-FFF2-40B4-BE49-F238E27FC236}">
                <a16:creationId xmlns:a16="http://schemas.microsoft.com/office/drawing/2014/main" id="{0ACB2657-C708-A04B-A3BF-C432BC3D4122}"/>
              </a:ext>
            </a:extLst>
          </p:cNvPr>
          <p:cNvSpPr/>
          <p:nvPr userDrawn="1"/>
        </p:nvSpPr>
        <p:spPr>
          <a:xfrm rot="16200000">
            <a:off x="391045" y="1874233"/>
            <a:ext cx="3845083" cy="3386155"/>
          </a:xfrm>
          <a:prstGeom prst="flowChartDelay">
            <a:avLst/>
          </a:prstGeom>
          <a:solidFill>
            <a:srgbClr val="55A585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8" name="Picture 7" descr="A person holding a phone&#10;&#10;Description automatically generated with medium confidence">
            <a:extLst>
              <a:ext uri="{FF2B5EF4-FFF2-40B4-BE49-F238E27FC236}">
                <a16:creationId xmlns:a16="http://schemas.microsoft.com/office/drawing/2014/main" id="{3BACD890-BD0B-E6A4-58CF-57E3D8863A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7283" y="753673"/>
            <a:ext cx="3697205" cy="4736179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D2304E76-E256-52C5-FB40-A78CA129D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84385" y="368472"/>
            <a:ext cx="7098016" cy="704955"/>
          </a:xfrm>
        </p:spPr>
        <p:txBody>
          <a:bodyPr lIns="0" rIns="0" anchor="b">
            <a:normAutofit/>
          </a:bodyPr>
          <a:lstStyle>
            <a:lvl1pPr marL="0" algn="l" defTabSz="9143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3FC7BAB-2CFD-16FA-E5CE-6A8AE83209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91641" y="1241371"/>
            <a:ext cx="7090760" cy="429635"/>
          </a:xfrm>
        </p:spPr>
        <p:txBody>
          <a:bodyPr lIns="0" rIns="0">
            <a:normAutofit/>
          </a:bodyPr>
          <a:lstStyle>
            <a:lvl1pPr marL="0" indent="0" algn="l" defTabSz="91438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B0EFC8E-2D10-7A07-38EC-603E7E665B9E}"/>
              </a:ext>
            </a:extLst>
          </p:cNvPr>
          <p:cNvCxnSpPr>
            <a:cxnSpLocks/>
            <a:stCxn id="22" idx="4"/>
            <a:endCxn id="25" idx="0"/>
          </p:cNvCxnSpPr>
          <p:nvPr userDrawn="1"/>
        </p:nvCxnSpPr>
        <p:spPr>
          <a:xfrm>
            <a:off x="4469179" y="2328875"/>
            <a:ext cx="0" cy="2816305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21" name="Google Shape;323;p67">
            <a:extLst>
              <a:ext uri="{FF2B5EF4-FFF2-40B4-BE49-F238E27FC236}">
                <a16:creationId xmlns:a16="http://schemas.microsoft.com/office/drawing/2014/main" id="{F0EB2619-26EF-50E4-F6EE-782CE1906BC5}"/>
              </a:ext>
            </a:extLst>
          </p:cNvPr>
          <p:cNvSpPr txBox="1">
            <a:spLocks/>
          </p:cNvSpPr>
          <p:nvPr userDrawn="1"/>
        </p:nvSpPr>
        <p:spPr>
          <a:xfrm>
            <a:off x="4826954" y="2071343"/>
            <a:ext cx="5029555" cy="362092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34275" rIns="0" bIns="34275" rtlCol="0" anchor="t" anchorCtr="0">
            <a:noAutofit/>
          </a:bodyPr>
          <a:lstStyle>
            <a:lvl1pPr marL="342892" lvl="0" indent="-266693" algn="l" defTabSz="68579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lvl="1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8675" lvl="2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lvl="3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14457" lvl="4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7348" lvl="5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00240" lvl="6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43132" lvl="7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86023" lvl="8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1575"/>
              </a:spcAft>
              <a:buSzPts val="19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marR="0" lvl="0" indent="0" algn="l" defTabSz="68577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>
                <a:srgbClr val="787B7E"/>
              </a:buClr>
              <a:buSzPts val="2000"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WELCOME </a:t>
            </a:r>
            <a:br>
              <a:rPr kumimoji="0" lang="en-US" sz="1500" b="1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r>
              <a:rPr kumimoji="0" lang="en-US" sz="1351" b="0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Introductions</a:t>
            </a:r>
            <a:br>
              <a:rPr kumimoji="0" lang="en-US" sz="18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endParaRPr kumimoji="0" lang="en-US" sz="1800" b="0" i="0" u="none" strike="noStrike" kern="1200" cap="none" spc="4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Century Gothic" panose="020F0302020204030204"/>
              <a:ea typeface="+mn-lt"/>
              <a:cs typeface="+mn-lt"/>
            </a:endParaRPr>
          </a:p>
          <a:p>
            <a:pPr marL="0" marR="0" lvl="0" indent="0" algn="l" defTabSz="685774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EE2845"/>
              </a:buClr>
              <a:buSzPct val="85000"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YOUR PRIORITIES &amp; DESIRED OUTCOMES</a:t>
            </a:r>
            <a: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 </a:t>
            </a:r>
            <a:b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r>
              <a:rPr kumimoji="0" lang="en-US" sz="1351" b="0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Creating a shared understanding of success</a:t>
            </a:r>
            <a:b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b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endParaRPr kumimoji="0" lang="en-US" sz="1500" b="1" i="0" u="none" strike="noStrike" kern="1200" cap="none" spc="4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Century Gothic" panose="020F0302020204030204"/>
              <a:ea typeface="+mn-lt"/>
              <a:cs typeface="+mn-lt"/>
            </a:endParaRPr>
          </a:p>
          <a:p>
            <a:pPr marL="0" marR="0" lvl="0" indent="0" algn="l" defTabSz="685774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EE2845"/>
              </a:buClr>
              <a:buSzPct val="85000"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OVERVIEW OF WHAT IS POSSIBLE</a:t>
            </a:r>
            <a:b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r>
              <a:rPr kumimoji="0" lang="en-US" sz="1351" b="0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Designing a solution together</a:t>
            </a:r>
            <a:b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b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endParaRPr kumimoji="0" lang="en-US" sz="1500" b="0" i="0" u="none" strike="noStrike" kern="1200" cap="none" spc="4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Century Gothic" panose="020F0302020204030204"/>
              <a:ea typeface="+mn-lt"/>
              <a:cs typeface="+mn-lt"/>
            </a:endParaRPr>
          </a:p>
          <a:p>
            <a:pPr marL="0" marR="0" lvl="0" indent="0" algn="l" defTabSz="685774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EE2845"/>
              </a:buClr>
              <a:buSzPct val="85000"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QUESTIONS &amp; NEXT STEPS</a:t>
            </a:r>
            <a:br>
              <a:rPr kumimoji="0" lang="en-US" sz="1500" b="1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r>
              <a:rPr kumimoji="0" lang="en-US" sz="1351" b="0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Where do we go from here?</a:t>
            </a:r>
            <a:r>
              <a:rPr kumimoji="0" lang="en-US" sz="1351" b="1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 </a:t>
            </a:r>
            <a:endParaRPr kumimoji="0" lang="en-US" sz="1500" b="0" i="0" u="none" strike="noStrike" kern="1200" cap="none" spc="4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Century Gothic" panose="020F0302020204030204"/>
              <a:ea typeface="+mn-lt"/>
              <a:cs typeface="+mn-lt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C8B41C3B-D508-EC15-3E45-DA0A071D9917}"/>
              </a:ext>
            </a:extLst>
          </p:cNvPr>
          <p:cNvSpPr/>
          <p:nvPr userDrawn="1"/>
        </p:nvSpPr>
        <p:spPr>
          <a:xfrm>
            <a:off x="4394637" y="2179789"/>
            <a:ext cx="149087" cy="149087"/>
          </a:xfrm>
          <a:prstGeom prst="ellipse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2285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9F232104-0AF3-1F1C-88C7-64A8AC2B110A}"/>
              </a:ext>
            </a:extLst>
          </p:cNvPr>
          <p:cNvSpPr/>
          <p:nvPr userDrawn="1"/>
        </p:nvSpPr>
        <p:spPr>
          <a:xfrm>
            <a:off x="4394637" y="3167235"/>
            <a:ext cx="149087" cy="149087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rgbClr val="EE284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2285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AFE59FBD-2303-220D-E8FE-B141540A7668}"/>
              </a:ext>
            </a:extLst>
          </p:cNvPr>
          <p:cNvSpPr/>
          <p:nvPr userDrawn="1"/>
        </p:nvSpPr>
        <p:spPr>
          <a:xfrm>
            <a:off x="4394637" y="4154681"/>
            <a:ext cx="149087" cy="149087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rgbClr val="EE284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2285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AB774A9-80AA-81D8-034F-9F7CD11774E6}"/>
              </a:ext>
            </a:extLst>
          </p:cNvPr>
          <p:cNvSpPr/>
          <p:nvPr userDrawn="1"/>
        </p:nvSpPr>
        <p:spPr>
          <a:xfrm>
            <a:off x="4394637" y="5145181"/>
            <a:ext cx="149087" cy="149087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rgbClr val="EE284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2285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65ADAE8-D812-6A52-114E-CAC1FC7392F3}"/>
              </a:ext>
            </a:extLst>
          </p:cNvPr>
          <p:cNvCxnSpPr>
            <a:cxnSpLocks/>
          </p:cNvCxnSpPr>
          <p:nvPr userDrawn="1"/>
        </p:nvCxnSpPr>
        <p:spPr>
          <a:xfrm>
            <a:off x="4457701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F086DB0-1896-E7E6-5BFD-4A6538D2C69B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4" name="Picture 1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CF33704D-193C-4AA3-3C5D-B105B4026EC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959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808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D924CC1-F0F8-D1AD-04A1-4510503087E6}"/>
              </a:ext>
            </a:extLst>
          </p:cNvPr>
          <p:cNvSpPr/>
          <p:nvPr userDrawn="1"/>
        </p:nvSpPr>
        <p:spPr>
          <a:xfrm>
            <a:off x="838200" y="5883545"/>
            <a:ext cx="3886955" cy="3259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762"/>
            <a:endParaRPr lang="en-US" sz="1497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BA901A1-E9A8-ECDA-E608-DA3D3651535A}"/>
              </a:ext>
            </a:extLst>
          </p:cNvPr>
          <p:cNvSpPr/>
          <p:nvPr userDrawn="1"/>
        </p:nvSpPr>
        <p:spPr>
          <a:xfrm>
            <a:off x="4845868" y="5883545"/>
            <a:ext cx="3886955" cy="32591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762"/>
            <a:endParaRPr lang="en-US" sz="1497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32CD196-5FDD-3D80-583C-57FA147DD869}"/>
              </a:ext>
            </a:extLst>
          </p:cNvPr>
          <p:cNvSpPr/>
          <p:nvPr userDrawn="1"/>
        </p:nvSpPr>
        <p:spPr>
          <a:xfrm>
            <a:off x="838200" y="3324399"/>
            <a:ext cx="3886955" cy="112322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762"/>
            <a:endParaRPr lang="en-US" sz="1497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93969F4-C52A-F89F-4D0D-27167DD41F3B}"/>
              </a:ext>
            </a:extLst>
          </p:cNvPr>
          <p:cNvSpPr/>
          <p:nvPr userDrawn="1"/>
        </p:nvSpPr>
        <p:spPr>
          <a:xfrm>
            <a:off x="838200" y="4561447"/>
            <a:ext cx="3886955" cy="748425"/>
          </a:xfrm>
          <a:prstGeom prst="rect">
            <a:avLst/>
          </a:prstGeom>
          <a:solidFill>
            <a:srgbClr val="E46A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762"/>
            <a:endParaRPr lang="en-US" sz="1497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FF6F24-4A00-1158-FF7D-D82B1DEEB4EF}"/>
              </a:ext>
            </a:extLst>
          </p:cNvPr>
          <p:cNvSpPr/>
          <p:nvPr userDrawn="1"/>
        </p:nvSpPr>
        <p:spPr>
          <a:xfrm>
            <a:off x="4845868" y="3323819"/>
            <a:ext cx="3886955" cy="1123224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762"/>
            <a:endParaRPr lang="en-US" sz="1497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1FC2B62-1518-FE22-1882-16BEF7E5FEEA}"/>
              </a:ext>
            </a:extLst>
          </p:cNvPr>
          <p:cNvSpPr/>
          <p:nvPr userDrawn="1"/>
        </p:nvSpPr>
        <p:spPr>
          <a:xfrm>
            <a:off x="4845868" y="4561448"/>
            <a:ext cx="3886955" cy="7484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762"/>
            <a:endParaRPr lang="en-US" sz="1497">
              <a:solidFill>
                <a:srgbClr val="FFFFFF"/>
              </a:solidFill>
              <a:latin typeface="Century Gothic" panose="020F030202020403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394BBF2-E6FB-8C7D-EC72-1A773FDF398B}"/>
              </a:ext>
            </a:extLst>
          </p:cNvPr>
          <p:cNvSpPr txBox="1"/>
          <p:nvPr userDrawn="1"/>
        </p:nvSpPr>
        <p:spPr>
          <a:xfrm>
            <a:off x="838202" y="2913451"/>
            <a:ext cx="6204641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04762"/>
            <a:r>
              <a:rPr lang="en-US" sz="1867">
                <a:solidFill>
                  <a:srgbClr val="000000"/>
                </a:solidFill>
                <a:latin typeface="Century Gothic" panose="020F0302020204030204"/>
              </a:rPr>
              <a:t>Primary Color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B97F197-529C-D460-BB78-3A9C9E026BED}"/>
              </a:ext>
            </a:extLst>
          </p:cNvPr>
          <p:cNvSpPr txBox="1"/>
          <p:nvPr userDrawn="1"/>
        </p:nvSpPr>
        <p:spPr>
          <a:xfrm>
            <a:off x="838202" y="5462814"/>
            <a:ext cx="6204641" cy="37965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304762"/>
            <a:r>
              <a:rPr lang="en-US" sz="1867">
                <a:solidFill>
                  <a:srgbClr val="000000"/>
                </a:solidFill>
                <a:latin typeface="Century Gothic" panose="020F0302020204030204"/>
              </a:rPr>
              <a:t>Secondary Colors (use sparingly)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8282C96-2F16-5DB3-C31E-9C75ECDBD8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0" y="1812410"/>
            <a:ext cx="3369733" cy="94091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5D8FBF8-7EA5-657B-1B29-7D6E4560D9C2}"/>
              </a:ext>
            </a:extLst>
          </p:cNvPr>
          <p:cNvSpPr txBox="1"/>
          <p:nvPr userDrawn="1"/>
        </p:nvSpPr>
        <p:spPr>
          <a:xfrm>
            <a:off x="4845868" y="2036646"/>
            <a:ext cx="3657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04762"/>
            <a:r>
              <a:rPr lang="en-US" sz="2400">
                <a:solidFill>
                  <a:srgbClr val="000000"/>
                </a:solidFill>
                <a:latin typeface="Century Gothic" panose="020F0302020204030204"/>
              </a:rPr>
              <a:t>Font: Century Gothic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7353C23-F8A2-CB79-3CBB-6174B722C7C6}"/>
              </a:ext>
            </a:extLst>
          </p:cNvPr>
          <p:cNvSpPr txBox="1">
            <a:spLocks/>
          </p:cNvSpPr>
          <p:nvPr userDrawn="1"/>
        </p:nvSpPr>
        <p:spPr>
          <a:xfrm>
            <a:off x="11517616" y="6499849"/>
            <a:ext cx="476468" cy="183662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A2501D1-66FB-AE34-BC94-4A65E8248E36}"/>
              </a:ext>
            </a:extLst>
          </p:cNvPr>
          <p:cNvSpPr txBox="1"/>
          <p:nvPr userDrawn="1"/>
        </p:nvSpPr>
        <p:spPr>
          <a:xfrm>
            <a:off x="408927" y="6505102"/>
            <a:ext cx="784189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28577"/>
            <a:r>
              <a:rPr lang="en-US" sz="750" err="1">
                <a:solidFill>
                  <a:srgbClr val="000000">
                    <a:lumMod val="65000"/>
                    <a:lumOff val="3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icus.com</a:t>
            </a:r>
            <a:endParaRPr lang="en-US" sz="750">
              <a:solidFill>
                <a:srgbClr val="000000">
                  <a:lumMod val="65000"/>
                  <a:lumOff val="35000"/>
                </a:srgb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44B501B-2594-ABB2-5A25-CE23D81DC0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439" y="6483799"/>
            <a:ext cx="215762" cy="21576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D4CF73E-C040-D1D3-2A87-60A1C056B1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57422E6F-044F-D77D-BDC7-1429B00514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6DC0224-94BB-1BA0-CDAC-FA6A75F6CAD8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48875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A9E98145-3076-AAFD-4ECF-446ADBDE02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028"/>
            <a:ext cx="10515600" cy="1325563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Branding </a:t>
            </a:r>
            <a:r>
              <a:rPr lang="en-US" b="0">
                <a:solidFill>
                  <a:schemeClr val="tx2"/>
                </a:solidFill>
              </a:rPr>
              <a:t>Guideline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4F371B7-BCEF-C8B3-1119-2D7639C13B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480" y="3305103"/>
            <a:ext cx="2943434" cy="60992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D093B14-3B49-ACC3-6CC9-53603C71517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4172541"/>
            <a:ext cx="3274086" cy="74548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9E2AB9ED-00DF-B83D-0A9C-D7C262A968CD}"/>
              </a:ext>
            </a:extLst>
          </p:cNvPr>
          <p:cNvSpPr txBox="1"/>
          <p:nvPr userDrawn="1"/>
        </p:nvSpPr>
        <p:spPr>
          <a:xfrm>
            <a:off x="838200" y="2284181"/>
            <a:ext cx="3274086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l" defTabSz="2285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emplate Logo</a:t>
            </a:r>
          </a:p>
        </p:txBody>
      </p:sp>
    </p:spTree>
    <p:extLst>
      <p:ext uri="{BB962C8B-B14F-4D97-AF65-F5344CB8AC3E}">
        <p14:creationId xmlns:p14="http://schemas.microsoft.com/office/powerpoint/2010/main" val="283221891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B938C31-136F-E3FB-281A-3A9C76D977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829" r="-1153"/>
          <a:stretch/>
        </p:blipFill>
        <p:spPr>
          <a:xfrm>
            <a:off x="0" y="4386656"/>
            <a:ext cx="4704080" cy="247134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AE647DC-5977-5FDE-D0BC-58A33AB621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94880" y="0"/>
            <a:ext cx="4897120" cy="248525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41D1372-5562-1084-0E1D-279F4A5FE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7171" y="2440039"/>
            <a:ext cx="10357658" cy="1219434"/>
          </a:xfrm>
        </p:spPr>
        <p:txBody>
          <a:bodyPr anchor="b">
            <a:normAutofit/>
          </a:bodyPr>
          <a:lstStyle>
            <a:lvl1pPr algn="ctr">
              <a:defRPr sz="4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1E93011-163A-7CE3-C1A8-AF7205337D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98768" y="3957021"/>
            <a:ext cx="5594465" cy="429635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6E54B8-D584-A5BC-14B3-45BF93CE1775}"/>
              </a:ext>
            </a:extLst>
          </p:cNvPr>
          <p:cNvSpPr txBox="1">
            <a:spLocks/>
          </p:cNvSpPr>
          <p:nvPr userDrawn="1"/>
        </p:nvSpPr>
        <p:spPr>
          <a:xfrm>
            <a:off x="11517616" y="6499849"/>
            <a:ext cx="476468" cy="183662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056171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7A4A3D-3A8C-43F9-BD68-61C9DF8008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E2F4095-F540-4157-AA36-375A4AEED6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F8D2BE-50D9-4FF4-841C-C40ED05BEF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0F103-4100-4DC4-BF43-7F42E8D0D4FA}" type="datetimeFigureOut">
              <a:rPr lang="en-US" smtClean="0"/>
              <a:t>3/15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EE65E2-3CE7-468F-BF5F-C758F17F2C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19D13C-4A7D-4453-A074-EDCFFF4593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197B9F-7AEF-491E-ABBA-50AE3E1BFC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980941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45BC3A7C-BCFD-B750-7D0B-772549B1C7A6}"/>
              </a:ext>
            </a:extLst>
          </p:cNvPr>
          <p:cNvGrpSpPr/>
          <p:nvPr userDrawn="1"/>
        </p:nvGrpSpPr>
        <p:grpSpPr>
          <a:xfrm rot="10800000">
            <a:off x="155943" y="4802440"/>
            <a:ext cx="6709295" cy="6709295"/>
            <a:chOff x="105150" y="-3122465"/>
            <a:chExt cx="5720108" cy="5720108"/>
          </a:xfrm>
        </p:grpSpPr>
        <p:sp>
          <p:nvSpPr>
            <p:cNvPr id="12" name="Chord 11">
              <a:extLst>
                <a:ext uri="{FF2B5EF4-FFF2-40B4-BE49-F238E27FC236}">
                  <a16:creationId xmlns:a16="http://schemas.microsoft.com/office/drawing/2014/main" id="{B6B36A70-6BBD-CDF2-9148-1821145FB7A1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099984"/>
                <a:gd name="adj2" fmla="val 9758148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6" name="Chord 15">
              <a:extLst>
                <a:ext uri="{FF2B5EF4-FFF2-40B4-BE49-F238E27FC236}">
                  <a16:creationId xmlns:a16="http://schemas.microsoft.com/office/drawing/2014/main" id="{F4F61740-57BE-7A2A-1EBA-F6B143259B55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379694"/>
                <a:gd name="adj2" fmla="val 9313731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7" name="Chord 16">
              <a:extLst>
                <a:ext uri="{FF2B5EF4-FFF2-40B4-BE49-F238E27FC236}">
                  <a16:creationId xmlns:a16="http://schemas.microsoft.com/office/drawing/2014/main" id="{0B4408C5-6A2E-BDCE-74DE-31BB25DE0B20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673024"/>
                <a:gd name="adj2" fmla="val 8811419"/>
              </a:avLst>
            </a:prstGeom>
            <a:solidFill>
              <a:schemeClr val="accent2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900BB82-D5C4-DC18-EC16-D2A669E8A57A}"/>
              </a:ext>
            </a:extLst>
          </p:cNvPr>
          <p:cNvGrpSpPr/>
          <p:nvPr userDrawn="1"/>
        </p:nvGrpSpPr>
        <p:grpSpPr>
          <a:xfrm>
            <a:off x="6113028" y="-2990654"/>
            <a:ext cx="6921331" cy="6921331"/>
            <a:chOff x="105150" y="-3122465"/>
            <a:chExt cx="5720108" cy="5720108"/>
          </a:xfrm>
        </p:grpSpPr>
        <p:sp>
          <p:nvSpPr>
            <p:cNvPr id="19" name="Chord 18">
              <a:extLst>
                <a:ext uri="{FF2B5EF4-FFF2-40B4-BE49-F238E27FC236}">
                  <a16:creationId xmlns:a16="http://schemas.microsoft.com/office/drawing/2014/main" id="{6122E3AB-2C8D-5A6E-75D8-A06F1AE002C8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20867905"/>
                <a:gd name="adj2" fmla="val 11478846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0" name="Chord 19">
              <a:extLst>
                <a:ext uri="{FF2B5EF4-FFF2-40B4-BE49-F238E27FC236}">
                  <a16:creationId xmlns:a16="http://schemas.microsoft.com/office/drawing/2014/main" id="{FB49112F-E4E1-D8E7-9D3F-CC0FE7CE5E0E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20769818"/>
                <a:gd name="adj2" fmla="val 11622062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1" name="Chord 20">
              <a:extLst>
                <a:ext uri="{FF2B5EF4-FFF2-40B4-BE49-F238E27FC236}">
                  <a16:creationId xmlns:a16="http://schemas.microsoft.com/office/drawing/2014/main" id="{C31B000C-5EAC-99AD-AFAF-C8D08AACA09C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656920"/>
                <a:gd name="adj2" fmla="val 11801938"/>
              </a:avLst>
            </a:prstGeom>
            <a:solidFill>
              <a:schemeClr val="accent5">
                <a:alpha val="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pic>
        <p:nvPicPr>
          <p:cNvPr id="10" name="Picture 9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535980FD-1B8D-F6F1-3B64-BF3D992FB2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400" y="1191703"/>
            <a:ext cx="2574333" cy="533048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578A23FB-FFD9-0F5E-9D4E-D31707400000}"/>
              </a:ext>
            </a:extLst>
          </p:cNvPr>
          <p:cNvSpPr/>
          <p:nvPr userDrawn="1"/>
        </p:nvSpPr>
        <p:spPr>
          <a:xfrm>
            <a:off x="624263" y="3751217"/>
            <a:ext cx="1512396" cy="73152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047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9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6355B56A-CC40-176A-ACDD-7BFF5CE504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4056" y="4027685"/>
            <a:ext cx="6261215" cy="429635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20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4BF26FE3-040B-2A0D-5CE1-29756A2F53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4425" y="2013036"/>
            <a:ext cx="6321588" cy="1606653"/>
          </a:xfrm>
        </p:spPr>
        <p:txBody>
          <a:bodyPr lIns="0" rIns="0" anchor="b">
            <a:noAutofit/>
          </a:bodyPr>
          <a:lstStyle>
            <a:lvl1pPr algn="l">
              <a:defRPr sz="3600" b="1" spc="3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4744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  <p15:guide id="3" pos="384">
          <p15:clr>
            <a:srgbClr val="FBAE40"/>
          </p15:clr>
        </p15:guide>
        <p15:guide id="4" pos="9728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elay 2">
            <a:extLst>
              <a:ext uri="{FF2B5EF4-FFF2-40B4-BE49-F238E27FC236}">
                <a16:creationId xmlns:a16="http://schemas.microsoft.com/office/drawing/2014/main" id="{0ACB2657-C708-A04B-A3BF-C432BC3D4122}"/>
              </a:ext>
            </a:extLst>
          </p:cNvPr>
          <p:cNvSpPr/>
          <p:nvPr userDrawn="1"/>
        </p:nvSpPr>
        <p:spPr>
          <a:xfrm rot="16200000">
            <a:off x="391045" y="1874233"/>
            <a:ext cx="3845083" cy="3386155"/>
          </a:xfrm>
          <a:prstGeom prst="flowChartDelay">
            <a:avLst/>
          </a:prstGeom>
          <a:solidFill>
            <a:srgbClr val="55A585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8" name="Picture 7" descr="A person holding a phone&#10;&#10;Description automatically generated with medium confidence">
            <a:extLst>
              <a:ext uri="{FF2B5EF4-FFF2-40B4-BE49-F238E27FC236}">
                <a16:creationId xmlns:a16="http://schemas.microsoft.com/office/drawing/2014/main" id="{3BACD890-BD0B-E6A4-58CF-57E3D8863A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7283" y="753673"/>
            <a:ext cx="3697205" cy="4736179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D2304E76-E256-52C5-FB40-A78CA129D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84385" y="368472"/>
            <a:ext cx="7098016" cy="704955"/>
          </a:xfrm>
        </p:spPr>
        <p:txBody>
          <a:bodyPr lIns="0" rIns="0" anchor="b">
            <a:normAutofit/>
          </a:bodyPr>
          <a:lstStyle>
            <a:lvl1pPr marL="0" algn="l" defTabSz="9143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Hello Granicus Product Marketers! 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3FC7BAB-2CFD-16FA-E5CE-6A8AE832096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91641" y="1241371"/>
            <a:ext cx="7090760" cy="429635"/>
          </a:xfrm>
        </p:spPr>
        <p:txBody>
          <a:bodyPr lIns="0" rIns="0">
            <a:normAutofit/>
          </a:bodyPr>
          <a:lstStyle>
            <a:lvl1pPr marL="0" indent="0" algn="l" defTabSz="91438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My B2B Journey 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B0EFC8E-2D10-7A07-38EC-603E7E665B9E}"/>
              </a:ext>
            </a:extLst>
          </p:cNvPr>
          <p:cNvCxnSpPr>
            <a:cxnSpLocks/>
            <a:stCxn id="22" idx="4"/>
            <a:endCxn id="25" idx="0"/>
          </p:cNvCxnSpPr>
          <p:nvPr userDrawn="1"/>
        </p:nvCxnSpPr>
        <p:spPr>
          <a:xfrm>
            <a:off x="4469179" y="2328875"/>
            <a:ext cx="0" cy="2816305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21" name="Google Shape;323;p67">
            <a:extLst>
              <a:ext uri="{FF2B5EF4-FFF2-40B4-BE49-F238E27FC236}">
                <a16:creationId xmlns:a16="http://schemas.microsoft.com/office/drawing/2014/main" id="{F0EB2619-26EF-50E4-F6EE-782CE1906BC5}"/>
              </a:ext>
            </a:extLst>
          </p:cNvPr>
          <p:cNvSpPr txBox="1">
            <a:spLocks/>
          </p:cNvSpPr>
          <p:nvPr userDrawn="1"/>
        </p:nvSpPr>
        <p:spPr>
          <a:xfrm>
            <a:off x="4826954" y="2071343"/>
            <a:ext cx="5029555" cy="362092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34275" rIns="0" bIns="34275" rtlCol="0" anchor="t" anchorCtr="0">
            <a:noAutofit/>
          </a:bodyPr>
          <a:lstStyle>
            <a:lvl1pPr marL="342892" lvl="0" indent="-266693" algn="l" defTabSz="68579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lvl="1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8675" lvl="2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lvl="3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14457" lvl="4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7348" lvl="5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00240" lvl="6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43132" lvl="7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86023" lvl="8" indent="-261932" algn="l" defTabSz="685790" rtl="0" eaLnBrk="1" latinLnBrk="0" hangingPunct="1">
              <a:lnSpc>
                <a:spcPct val="90000"/>
              </a:lnSpc>
              <a:spcBef>
                <a:spcPts val="1575"/>
              </a:spcBef>
              <a:spcAft>
                <a:spcPts val="1575"/>
              </a:spcAft>
              <a:buSzPts val="19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marR="0" lvl="0" indent="0" algn="l" defTabSz="68577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>
                <a:srgbClr val="787B7E"/>
              </a:buClr>
              <a:buSzPts val="2000"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BA - Mass Communication</a:t>
            </a:r>
            <a:br>
              <a:rPr kumimoji="0" lang="en-US" sz="1500" b="1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r>
              <a:rPr kumimoji="0" lang="en-US" sz="1351" b="0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Concentration: Journalism </a:t>
            </a:r>
            <a:br>
              <a:rPr kumimoji="0" lang="en-US" sz="18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endParaRPr kumimoji="0" lang="en-US" sz="1800" b="0" i="0" u="none" strike="noStrike" kern="1200" cap="none" spc="4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Century Gothic" panose="020F0302020204030204"/>
              <a:ea typeface="+mn-lt"/>
              <a:cs typeface="+mn-lt"/>
            </a:endParaRPr>
          </a:p>
          <a:p>
            <a:pPr marL="0" marR="0" lvl="0" indent="0" algn="l" defTabSz="685774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EE2845"/>
              </a:buClr>
              <a:buSzPct val="85000"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YOUR PRIORITIES &amp; DESIRED OUTCOMES</a:t>
            </a:r>
            <a: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 </a:t>
            </a:r>
            <a:b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r>
              <a:rPr kumimoji="0" lang="en-US" sz="1351" b="0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Creating a shared understanding of success</a:t>
            </a:r>
            <a:b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b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endParaRPr kumimoji="0" lang="en-US" sz="1500" b="1" i="0" u="none" strike="noStrike" kern="1200" cap="none" spc="4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Century Gothic" panose="020F0302020204030204"/>
              <a:ea typeface="+mn-lt"/>
              <a:cs typeface="+mn-lt"/>
            </a:endParaRPr>
          </a:p>
          <a:p>
            <a:pPr marL="0" marR="0" lvl="0" indent="0" algn="l" defTabSz="685774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EE2845"/>
              </a:buClr>
              <a:buSzPct val="85000"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OVERVIEW OF WHAT IS POSSIBLE</a:t>
            </a:r>
            <a:b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r>
              <a:rPr kumimoji="0" lang="en-US" sz="1351" b="0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Designing a solution together</a:t>
            </a:r>
            <a:b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br>
              <a:rPr kumimoji="0" lang="en-US" sz="150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endParaRPr kumimoji="0" lang="en-US" sz="1500" b="0" i="0" u="none" strike="noStrike" kern="1200" cap="none" spc="4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Century Gothic" panose="020F0302020204030204"/>
              <a:ea typeface="+mn-lt"/>
              <a:cs typeface="+mn-lt"/>
            </a:endParaRPr>
          </a:p>
          <a:p>
            <a:pPr marL="0" marR="0" lvl="0" indent="0" algn="l" defTabSz="685774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EE2845"/>
              </a:buClr>
              <a:buSzPct val="85000"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QUESTIONS &amp; NEXT STEPS</a:t>
            </a:r>
            <a:br>
              <a:rPr kumimoji="0" lang="en-US" sz="1500" b="1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</a:br>
            <a:r>
              <a:rPr kumimoji="0" lang="en-US" sz="1351" b="0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Where do we go from here?</a:t>
            </a:r>
            <a:r>
              <a:rPr kumimoji="0" lang="en-US" sz="1351" b="1" i="0" u="none" strike="noStrike" kern="1200" cap="none" spc="4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Century Gothic" panose="020F0302020204030204"/>
                <a:ea typeface="+mn-lt"/>
                <a:cs typeface="+mn-lt"/>
              </a:rPr>
              <a:t> </a:t>
            </a:r>
            <a:endParaRPr kumimoji="0" lang="en-US" sz="1500" b="0" i="0" u="none" strike="noStrike" kern="1200" cap="none" spc="4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Century Gothic" panose="020F0302020204030204"/>
              <a:ea typeface="+mn-lt"/>
              <a:cs typeface="+mn-lt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C8B41C3B-D508-EC15-3E45-DA0A071D9917}"/>
              </a:ext>
            </a:extLst>
          </p:cNvPr>
          <p:cNvSpPr/>
          <p:nvPr userDrawn="1"/>
        </p:nvSpPr>
        <p:spPr>
          <a:xfrm>
            <a:off x="4394637" y="2179789"/>
            <a:ext cx="149087" cy="149087"/>
          </a:xfrm>
          <a:prstGeom prst="ellipse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2285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9F232104-0AF3-1F1C-88C7-64A8AC2B110A}"/>
              </a:ext>
            </a:extLst>
          </p:cNvPr>
          <p:cNvSpPr/>
          <p:nvPr userDrawn="1"/>
        </p:nvSpPr>
        <p:spPr>
          <a:xfrm>
            <a:off x="4394637" y="3167235"/>
            <a:ext cx="149087" cy="149087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rgbClr val="EE284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2285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AFE59FBD-2303-220D-E8FE-B141540A7668}"/>
              </a:ext>
            </a:extLst>
          </p:cNvPr>
          <p:cNvSpPr/>
          <p:nvPr userDrawn="1"/>
        </p:nvSpPr>
        <p:spPr>
          <a:xfrm>
            <a:off x="4394637" y="4154681"/>
            <a:ext cx="149087" cy="149087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rgbClr val="EE284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2285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AB774A9-80AA-81D8-034F-9F7CD11774E6}"/>
              </a:ext>
            </a:extLst>
          </p:cNvPr>
          <p:cNvSpPr/>
          <p:nvPr userDrawn="1"/>
        </p:nvSpPr>
        <p:spPr>
          <a:xfrm>
            <a:off x="4394637" y="5145181"/>
            <a:ext cx="149087" cy="149087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rgbClr val="EE284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2285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65ADAE8-D812-6A52-114E-CAC1FC7392F3}"/>
              </a:ext>
            </a:extLst>
          </p:cNvPr>
          <p:cNvCxnSpPr>
            <a:cxnSpLocks/>
          </p:cNvCxnSpPr>
          <p:nvPr userDrawn="1"/>
        </p:nvCxnSpPr>
        <p:spPr>
          <a:xfrm>
            <a:off x="4457701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F086DB0-1896-E7E6-5BFD-4A6538D2C69B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4" name="Picture 1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CF33704D-193C-4AA3-3C5D-B105B4026EC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107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  <p15:guide id="3" pos="3744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ord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6203560" y="1409658"/>
            <a:ext cx="4062661" cy="4062661"/>
          </a:xfrm>
          <a:prstGeom prst="chord">
            <a:avLst>
              <a:gd name="adj1" fmla="val 5380442"/>
              <a:gd name="adj2" fmla="val 16200000"/>
            </a:avLst>
          </a:prstGeom>
          <a:solidFill>
            <a:schemeClr val="accent5">
              <a:alpha val="14000"/>
            </a:schemeClr>
          </a:solidFill>
          <a:ln w="3810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59" r="170"/>
          <a:stretch/>
        </p:blipFill>
        <p:spPr>
          <a:xfrm>
            <a:off x="8238562" y="0"/>
            <a:ext cx="3953438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8238563" y="0"/>
            <a:ext cx="3953437" cy="6858000"/>
          </a:xfrm>
          <a:prstGeom prst="rect">
            <a:avLst/>
          </a:prstGeom>
          <a:solidFill>
            <a:schemeClr val="accent5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F597556C-921F-8A86-4312-95EAE44E731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4087" y="1907259"/>
            <a:ext cx="5319513" cy="4354993"/>
          </a:xfrm>
        </p:spPr>
        <p:txBody>
          <a:bodyPr lIns="0" rIns="0"/>
          <a:lstStyle>
            <a:lvl1pPr marL="0" indent="0">
              <a:buNone/>
              <a:defRPr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C5E39A7-32B5-A4CA-7EB6-0CF0F105FF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366" y="312132"/>
            <a:ext cx="5318234" cy="480131"/>
          </a:xfrm>
        </p:spPr>
        <p:txBody>
          <a:bodyPr wrap="square" lIns="0" rIns="0" anchor="b">
            <a:sp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BF1C4B2-7895-8661-D5BA-28609D34E2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5366" y="989732"/>
            <a:ext cx="5318234" cy="369332"/>
          </a:xfrm>
        </p:spPr>
        <p:txBody>
          <a:bodyPr wrap="square" lIns="0" rIns="0">
            <a:spAutoFit/>
          </a:bodyPr>
          <a:lstStyle>
            <a:lvl1pPr marL="0" indent="0" algn="l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C6EDF7-A28E-CA58-E0DE-30C4A8CF1043}"/>
              </a:ext>
            </a:extLst>
          </p:cNvPr>
          <p:cNvCxnSpPr>
            <a:cxnSpLocks/>
          </p:cNvCxnSpPr>
          <p:nvPr userDrawn="1"/>
        </p:nvCxnSpPr>
        <p:spPr>
          <a:xfrm>
            <a:off x="625366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9" name="Picture 1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490E5B3-7867-69E6-A4BD-CCC34DDB077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384E2753-8378-A889-2BF7-63F1D469C15F}"/>
              </a:ext>
            </a:extLst>
          </p:cNvPr>
          <p:cNvSpPr/>
          <p:nvPr userDrawn="1"/>
        </p:nvSpPr>
        <p:spPr>
          <a:xfrm>
            <a:off x="6544606" y="1750704"/>
            <a:ext cx="3380568" cy="338056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6E5DF571-44A5-A36E-77C0-B0517DF656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88984" y="1990535"/>
            <a:ext cx="2891812" cy="2900906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80640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4992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ord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6203560" y="1409658"/>
            <a:ext cx="4062661" cy="4062661"/>
          </a:xfrm>
          <a:prstGeom prst="chord">
            <a:avLst>
              <a:gd name="adj1" fmla="val 5380442"/>
              <a:gd name="adj2" fmla="val 16200000"/>
            </a:avLst>
          </a:prstGeom>
          <a:solidFill>
            <a:schemeClr val="accent4">
              <a:alpha val="14000"/>
            </a:schemeClr>
          </a:solidFill>
          <a:ln w="3810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59" r="170"/>
          <a:stretch/>
        </p:blipFill>
        <p:spPr>
          <a:xfrm>
            <a:off x="8238562" y="0"/>
            <a:ext cx="3953438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8238563" y="0"/>
            <a:ext cx="3953437" cy="6858000"/>
          </a:xfrm>
          <a:prstGeom prst="rect">
            <a:avLst/>
          </a:prstGeom>
          <a:solidFill>
            <a:schemeClr val="accent4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F597556C-921F-8A86-4312-95EAE44E731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4087" y="1907259"/>
            <a:ext cx="5319513" cy="4354993"/>
          </a:xfrm>
        </p:spPr>
        <p:txBody>
          <a:bodyPr lIns="0" rIns="0"/>
          <a:lstStyle>
            <a:lvl1pPr marL="0" indent="0">
              <a:buNone/>
              <a:defRPr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C5E39A7-32B5-A4CA-7EB6-0CF0F105FF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366" y="312132"/>
            <a:ext cx="5318234" cy="480131"/>
          </a:xfrm>
        </p:spPr>
        <p:txBody>
          <a:bodyPr wrap="square" lIns="0" rIns="0" anchor="b">
            <a:sp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BF1C4B2-7895-8661-D5BA-28609D34E2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5366" y="989732"/>
            <a:ext cx="5318234" cy="369332"/>
          </a:xfrm>
        </p:spPr>
        <p:txBody>
          <a:bodyPr wrap="square" lIns="0" rIns="0">
            <a:spAutoFit/>
          </a:bodyPr>
          <a:lstStyle>
            <a:lvl1pPr marL="0" indent="0" algn="l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C6EDF7-A28E-CA58-E0DE-30C4A8CF1043}"/>
              </a:ext>
            </a:extLst>
          </p:cNvPr>
          <p:cNvCxnSpPr>
            <a:cxnSpLocks/>
          </p:cNvCxnSpPr>
          <p:nvPr userDrawn="1"/>
        </p:nvCxnSpPr>
        <p:spPr>
          <a:xfrm>
            <a:off x="625366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9" name="Picture 1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490E5B3-7867-69E6-A4BD-CCC34DDB077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384E2753-8378-A889-2BF7-63F1D469C15F}"/>
              </a:ext>
            </a:extLst>
          </p:cNvPr>
          <p:cNvSpPr/>
          <p:nvPr userDrawn="1"/>
        </p:nvSpPr>
        <p:spPr>
          <a:xfrm>
            <a:off x="6544606" y="1750704"/>
            <a:ext cx="3380568" cy="338056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6E5DF571-44A5-A36E-77C0-B0517DF656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88984" y="1990535"/>
            <a:ext cx="2891812" cy="2900906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97731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4992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ord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6203560" y="1409658"/>
            <a:ext cx="4062661" cy="4062661"/>
          </a:xfrm>
          <a:prstGeom prst="chord">
            <a:avLst>
              <a:gd name="adj1" fmla="val 5380442"/>
              <a:gd name="adj2" fmla="val 16200000"/>
            </a:avLst>
          </a:prstGeom>
          <a:solidFill>
            <a:schemeClr val="accent3">
              <a:alpha val="14000"/>
            </a:schemeClr>
          </a:solidFill>
          <a:ln w="3810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59" r="170"/>
          <a:stretch/>
        </p:blipFill>
        <p:spPr>
          <a:xfrm>
            <a:off x="8238562" y="0"/>
            <a:ext cx="3953438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8238563" y="0"/>
            <a:ext cx="3953437" cy="6858000"/>
          </a:xfrm>
          <a:prstGeom prst="rect">
            <a:avLst/>
          </a:prstGeom>
          <a:solidFill>
            <a:schemeClr val="accent3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F597556C-921F-8A86-4312-95EAE44E731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4087" y="1907259"/>
            <a:ext cx="5319513" cy="4354993"/>
          </a:xfrm>
        </p:spPr>
        <p:txBody>
          <a:bodyPr lIns="0" rIns="0"/>
          <a:lstStyle>
            <a:lvl1pPr marL="0" indent="0">
              <a:buNone/>
              <a:defRPr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C5E39A7-32B5-A4CA-7EB6-0CF0F105FF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366" y="312132"/>
            <a:ext cx="5318234" cy="480131"/>
          </a:xfrm>
        </p:spPr>
        <p:txBody>
          <a:bodyPr wrap="square" lIns="0" rIns="0" anchor="b">
            <a:sp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BF1C4B2-7895-8661-D5BA-28609D34E2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5366" y="989732"/>
            <a:ext cx="5318234" cy="369332"/>
          </a:xfrm>
        </p:spPr>
        <p:txBody>
          <a:bodyPr wrap="square" lIns="0" rIns="0">
            <a:spAutoFit/>
          </a:bodyPr>
          <a:lstStyle>
            <a:lvl1pPr marL="0" indent="0" algn="l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C6EDF7-A28E-CA58-E0DE-30C4A8CF1043}"/>
              </a:ext>
            </a:extLst>
          </p:cNvPr>
          <p:cNvCxnSpPr>
            <a:cxnSpLocks/>
          </p:cNvCxnSpPr>
          <p:nvPr userDrawn="1"/>
        </p:nvCxnSpPr>
        <p:spPr>
          <a:xfrm>
            <a:off x="625366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9" name="Picture 1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490E5B3-7867-69E6-A4BD-CCC34DDB077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384E2753-8378-A889-2BF7-63F1D469C15F}"/>
              </a:ext>
            </a:extLst>
          </p:cNvPr>
          <p:cNvSpPr/>
          <p:nvPr userDrawn="1"/>
        </p:nvSpPr>
        <p:spPr>
          <a:xfrm>
            <a:off x="6544606" y="1750704"/>
            <a:ext cx="3380568" cy="338056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6E5DF571-44A5-A36E-77C0-B0517DF656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88984" y="1990535"/>
            <a:ext cx="2891812" cy="2900906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831031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4992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ord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6203560" y="1409658"/>
            <a:ext cx="4062661" cy="4062661"/>
          </a:xfrm>
          <a:prstGeom prst="chord">
            <a:avLst>
              <a:gd name="adj1" fmla="val 5380442"/>
              <a:gd name="adj2" fmla="val 16200000"/>
            </a:avLst>
          </a:prstGeom>
          <a:solidFill>
            <a:schemeClr val="accent2">
              <a:alpha val="14000"/>
            </a:schemeClr>
          </a:solidFill>
          <a:ln w="3810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59" r="170"/>
          <a:stretch/>
        </p:blipFill>
        <p:spPr>
          <a:xfrm>
            <a:off x="8238562" y="0"/>
            <a:ext cx="3953438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8238563" y="0"/>
            <a:ext cx="3953437" cy="6858000"/>
          </a:xfrm>
          <a:prstGeom prst="rect">
            <a:avLst/>
          </a:prstGeom>
          <a:solidFill>
            <a:schemeClr val="accent2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F597556C-921F-8A86-4312-95EAE44E731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4087" y="1907259"/>
            <a:ext cx="5319513" cy="4354993"/>
          </a:xfrm>
        </p:spPr>
        <p:txBody>
          <a:bodyPr lIns="0" rIns="0"/>
          <a:lstStyle>
            <a:lvl1pPr marL="0" indent="0">
              <a:buNone/>
              <a:defRPr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C5E39A7-32B5-A4CA-7EB6-0CF0F105FF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366" y="312132"/>
            <a:ext cx="5318234" cy="480131"/>
          </a:xfrm>
        </p:spPr>
        <p:txBody>
          <a:bodyPr wrap="square" lIns="0" rIns="0" anchor="b">
            <a:sp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BF1C4B2-7895-8661-D5BA-28609D34E2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5366" y="989732"/>
            <a:ext cx="5318234" cy="369332"/>
          </a:xfrm>
        </p:spPr>
        <p:txBody>
          <a:bodyPr wrap="square" lIns="0" rIns="0">
            <a:spAutoFit/>
          </a:bodyPr>
          <a:lstStyle>
            <a:lvl1pPr marL="0" indent="0" algn="l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C6EDF7-A28E-CA58-E0DE-30C4A8CF1043}"/>
              </a:ext>
            </a:extLst>
          </p:cNvPr>
          <p:cNvCxnSpPr>
            <a:cxnSpLocks/>
          </p:cNvCxnSpPr>
          <p:nvPr userDrawn="1"/>
        </p:nvCxnSpPr>
        <p:spPr>
          <a:xfrm>
            <a:off x="625366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9" name="Picture 1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490E5B3-7867-69E6-A4BD-CCC34DDB077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384E2753-8378-A889-2BF7-63F1D469C15F}"/>
              </a:ext>
            </a:extLst>
          </p:cNvPr>
          <p:cNvSpPr/>
          <p:nvPr userDrawn="1"/>
        </p:nvSpPr>
        <p:spPr>
          <a:xfrm>
            <a:off x="6544606" y="1750704"/>
            <a:ext cx="3380568" cy="338056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6E5DF571-44A5-A36E-77C0-B0517DF656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88984" y="1990535"/>
            <a:ext cx="2891812" cy="2900906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94045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49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BF8D885F-F35C-1AE6-16EB-B2CED9445029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5183189" y="0"/>
            <a:ext cx="7008812" cy="6858000"/>
          </a:xfrm>
          <a:solidFill>
            <a:schemeClr val="bg2"/>
          </a:solidFill>
        </p:spPr>
        <p:txBody>
          <a:bodyPr rIns="457200" anchor="ctr">
            <a:normAutofit/>
          </a:bodyPr>
          <a:lstStyle>
            <a:lvl1pPr marL="0" indent="0" algn="r">
              <a:buNone/>
              <a:defRPr sz="24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marL="0" marR="0" lvl="0" indent="0" algn="r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or drag and drop</a:t>
            </a:r>
          </a:p>
          <a:p>
            <a:pPr marL="0" marR="0" lvl="0" indent="0" algn="r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 to add a photo here – </a:t>
            </a:r>
          </a:p>
          <a:p>
            <a:pPr marL="0" marR="0" lvl="0" indent="0" algn="r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you might need to </a:t>
            </a:r>
          </a:p>
          <a:p>
            <a:pPr marL="0" marR="0" lvl="0" indent="0" algn="r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right click and send the </a:t>
            </a:r>
          </a:p>
          <a:p>
            <a:pPr marL="0" marR="0" lvl="0" indent="0" algn="r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 to the back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2F9673C-30C0-E03E-BA3B-21B213457EE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7503" y="4027685"/>
            <a:ext cx="6261215" cy="429635"/>
          </a:xfrm>
        </p:spPr>
        <p:txBody>
          <a:bodyPr lIns="0">
            <a:normAutofit/>
          </a:bodyPr>
          <a:lstStyle>
            <a:lvl1pPr marL="0" indent="0" algn="l">
              <a:buNone/>
              <a:defRPr sz="2000" spc="50" baseline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76E1A8A-FA41-570F-BF44-20B0D806425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6340" y="2013036"/>
            <a:ext cx="6321588" cy="1606653"/>
          </a:xfrm>
        </p:spPr>
        <p:txBody>
          <a:bodyPr lIns="0" anchor="b">
            <a:noAutofit/>
          </a:bodyPr>
          <a:lstStyle>
            <a:lvl1pPr algn="l">
              <a:defRPr sz="3600" b="1" spc="3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Add your section title here</a:t>
            </a:r>
          </a:p>
        </p:txBody>
      </p:sp>
    </p:spTree>
    <p:extLst>
      <p:ext uri="{BB962C8B-B14F-4D97-AF65-F5344CB8AC3E}">
        <p14:creationId xmlns:p14="http://schemas.microsoft.com/office/powerpoint/2010/main" val="2486170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8E2F7EE-7709-35BA-E127-C50BC1009EB5}"/>
              </a:ext>
            </a:extLst>
          </p:cNvPr>
          <p:cNvGrpSpPr/>
          <p:nvPr userDrawn="1"/>
        </p:nvGrpSpPr>
        <p:grpSpPr>
          <a:xfrm>
            <a:off x="7202726" y="-3727519"/>
            <a:ext cx="5720108" cy="5720108"/>
            <a:chOff x="105150" y="-3122465"/>
            <a:chExt cx="5720108" cy="5720108"/>
          </a:xfrm>
        </p:grpSpPr>
        <p:sp>
          <p:nvSpPr>
            <p:cNvPr id="13" name="Chord 12">
              <a:extLst>
                <a:ext uri="{FF2B5EF4-FFF2-40B4-BE49-F238E27FC236}">
                  <a16:creationId xmlns:a16="http://schemas.microsoft.com/office/drawing/2014/main" id="{CFC3B866-3DF5-6AE9-F330-2CEFF3126B8E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972540"/>
                <a:gd name="adj2" fmla="val 988089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7" name="Chord 16">
              <a:extLst>
                <a:ext uri="{FF2B5EF4-FFF2-40B4-BE49-F238E27FC236}">
                  <a16:creationId xmlns:a16="http://schemas.microsoft.com/office/drawing/2014/main" id="{77547FDB-7552-1776-A57C-6D2898A85D30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171149"/>
                <a:gd name="adj2" fmla="val 959543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8" name="Chord 17">
              <a:extLst>
                <a:ext uri="{FF2B5EF4-FFF2-40B4-BE49-F238E27FC236}">
                  <a16:creationId xmlns:a16="http://schemas.microsoft.com/office/drawing/2014/main" id="{8E1EBB78-23CA-495F-E7D4-052BBA798DA1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517033"/>
                <a:gd name="adj2" fmla="val 9345714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D368C0C-6AE5-6848-0E96-7325AE63A9B4}"/>
              </a:ext>
            </a:extLst>
          </p:cNvPr>
          <p:cNvGrpSpPr/>
          <p:nvPr userDrawn="1"/>
        </p:nvGrpSpPr>
        <p:grpSpPr>
          <a:xfrm rot="10800000">
            <a:off x="-989286" y="5065529"/>
            <a:ext cx="5720108" cy="5720108"/>
            <a:chOff x="105150" y="-3122465"/>
            <a:chExt cx="5720108" cy="5720108"/>
          </a:xfrm>
        </p:grpSpPr>
        <p:sp>
          <p:nvSpPr>
            <p:cNvPr id="20" name="Chord 19">
              <a:extLst>
                <a:ext uri="{FF2B5EF4-FFF2-40B4-BE49-F238E27FC236}">
                  <a16:creationId xmlns:a16="http://schemas.microsoft.com/office/drawing/2014/main" id="{55C18862-C275-34CA-0FF9-D648867E5C13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215574"/>
                <a:gd name="adj2" fmla="val 9610099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1" name="Chord 20">
              <a:extLst>
                <a:ext uri="{FF2B5EF4-FFF2-40B4-BE49-F238E27FC236}">
                  <a16:creationId xmlns:a16="http://schemas.microsoft.com/office/drawing/2014/main" id="{C643B53E-DE3F-C827-26B2-3F973467D24F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503614"/>
                <a:gd name="adj2" fmla="val 9282250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2" name="Chord 21">
              <a:extLst>
                <a:ext uri="{FF2B5EF4-FFF2-40B4-BE49-F238E27FC236}">
                  <a16:creationId xmlns:a16="http://schemas.microsoft.com/office/drawing/2014/main" id="{8AD67EB1-5666-9C24-2C0E-448AB847B637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82273"/>
                <a:gd name="adj2" fmla="val 8808404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0A24EED9-4ADC-C399-7382-301E46A0CC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F5CDCDF-0943-B2E8-8886-A788DF7179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B4044E7-D165-021E-FE1B-FD68226DB0E4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2FA1AA87-ED82-9197-6BF3-32B0F8579B01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24" name="Picture 2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78CA3334-FFDD-A2BC-1614-72E1172369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A2929E4-AA46-CC31-0FA0-F45E8D4B932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09599" y="1688463"/>
            <a:ext cx="10972801" cy="437083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z="2400"/>
              <a:t>Click to edit text</a:t>
            </a:r>
          </a:p>
          <a:p>
            <a:pPr marL="406390" lvl="1" indent="-242882"/>
            <a:r>
              <a:rPr lang="en-US" sz="2000"/>
              <a:t>Second level</a:t>
            </a:r>
          </a:p>
          <a:p>
            <a:pPr marL="744520" lvl="2" indent="-220657"/>
            <a:r>
              <a:rPr lang="en-US" sz="1800"/>
              <a:t>Third level</a:t>
            </a:r>
          </a:p>
          <a:p>
            <a:pPr marL="1206470" lvl="3" indent="-234945"/>
            <a:r>
              <a:rPr lang="en-US" sz="1600"/>
              <a:t>Fourth level</a:t>
            </a:r>
          </a:p>
          <a:p>
            <a:pPr marL="1716045" lvl="4" indent="-227008"/>
            <a:r>
              <a:rPr lang="en-US" sz="160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8348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lin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42CF21A0-6A91-895A-CE7E-1B73C0CBC0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05497"/>
            <a:ext cx="10972800" cy="867930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the slide title – use this slide template for longer titles that go on 2 lines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1C59ED0-DFF6-9CFB-E870-E3E5A6ADCF5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1329888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9E6CC12-A8E1-0799-C9E2-B223F4FBBD47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0" name="Picture 9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3B3BD67E-AAB3-7AE8-D165-0936A4B443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ED66CFB-7627-E5C3-BBBC-B369F84A3A0B}"/>
              </a:ext>
            </a:extLst>
          </p:cNvPr>
          <p:cNvCxnSpPr>
            <a:cxnSpLocks/>
          </p:cNvCxnSpPr>
          <p:nvPr userDrawn="1"/>
        </p:nvCxnSpPr>
        <p:spPr>
          <a:xfrm>
            <a:off x="5243078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22CDFF11-44D3-6398-ACBB-F7E4B6E10DA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09599" y="1975558"/>
            <a:ext cx="10972801" cy="4256277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None/>
              <a:defRPr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5pPr>
          </a:lstStyle>
          <a:p>
            <a:r>
              <a:rPr lang="en-US" sz="2400"/>
              <a:t>Click to edit text</a:t>
            </a:r>
          </a:p>
          <a:p>
            <a:pPr marL="406390" lvl="1" indent="-242882"/>
            <a:r>
              <a:rPr lang="en-US" sz="2000"/>
              <a:t>Second level</a:t>
            </a:r>
          </a:p>
          <a:p>
            <a:pPr marL="744520" lvl="2" indent="-220657"/>
            <a:r>
              <a:rPr lang="en-US" sz="1800"/>
              <a:t>Third level</a:t>
            </a:r>
          </a:p>
          <a:p>
            <a:pPr marL="1206470" lvl="3" indent="-234945"/>
            <a:r>
              <a:rPr lang="en-US" sz="1600"/>
              <a:t>Fourth level</a:t>
            </a:r>
          </a:p>
          <a:p>
            <a:pPr marL="1716045" lvl="4" indent="-227008"/>
            <a:r>
              <a:rPr lang="en-US" sz="160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60593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 background,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6313D4-977E-A5F2-6EC7-B1462BF548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366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No background, no footer layout – Click to add slide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4DF489C-64CD-4A63-833D-6B9A60F58F1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5366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D7BB8B2-4A22-8A66-8036-6D8CE72F8D66}"/>
              </a:ext>
            </a:extLst>
          </p:cNvPr>
          <p:cNvCxnSpPr>
            <a:cxnSpLocks/>
          </p:cNvCxnSpPr>
          <p:nvPr userDrawn="1"/>
        </p:nvCxnSpPr>
        <p:spPr>
          <a:xfrm>
            <a:off x="5258844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EEB9A123-42CF-9EF7-202E-ED7386AB1F8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09599" y="1688464"/>
            <a:ext cx="10972801" cy="443484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None/>
              <a:defRPr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</a:defRPr>
            </a:lvl5pPr>
          </a:lstStyle>
          <a:p>
            <a:r>
              <a:rPr lang="en-US" sz="2400"/>
              <a:t>Click to edit text</a:t>
            </a:r>
          </a:p>
          <a:p>
            <a:pPr marL="406390" lvl="1" indent="-242882"/>
            <a:r>
              <a:rPr lang="en-US" sz="2000"/>
              <a:t>Second level</a:t>
            </a:r>
          </a:p>
          <a:p>
            <a:pPr marL="744520" lvl="2" indent="-220657"/>
            <a:r>
              <a:rPr lang="en-US" sz="1800"/>
              <a:t>Third level</a:t>
            </a:r>
          </a:p>
          <a:p>
            <a:pPr marL="1206470" lvl="3" indent="-234945"/>
            <a:r>
              <a:rPr lang="en-US" sz="1600"/>
              <a:t>Fourth level</a:t>
            </a:r>
          </a:p>
          <a:p>
            <a:pPr marL="1716045" lvl="4" indent="-227008"/>
            <a:r>
              <a:rPr lang="en-US" sz="160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3482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ckground and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40FC3855-1E98-88EB-123E-ABA741C20F9A}"/>
              </a:ext>
            </a:extLst>
          </p:cNvPr>
          <p:cNvGrpSpPr/>
          <p:nvPr userDrawn="1"/>
        </p:nvGrpSpPr>
        <p:grpSpPr>
          <a:xfrm rot="10800000">
            <a:off x="-989286" y="5065529"/>
            <a:ext cx="5720108" cy="5720108"/>
            <a:chOff x="105150" y="-3122465"/>
            <a:chExt cx="5720108" cy="5720108"/>
          </a:xfrm>
        </p:grpSpPr>
        <p:sp>
          <p:nvSpPr>
            <p:cNvPr id="4" name="Chord 3">
              <a:extLst>
                <a:ext uri="{FF2B5EF4-FFF2-40B4-BE49-F238E27FC236}">
                  <a16:creationId xmlns:a16="http://schemas.microsoft.com/office/drawing/2014/main" id="{F5214D97-C9EA-6AF1-249A-C4B4B3691ACA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1215574"/>
                <a:gd name="adj2" fmla="val 9610099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5" name="Chord 4">
              <a:extLst>
                <a:ext uri="{FF2B5EF4-FFF2-40B4-BE49-F238E27FC236}">
                  <a16:creationId xmlns:a16="http://schemas.microsoft.com/office/drawing/2014/main" id="{CEF2ED38-D535-E47C-78E0-E8F2214B0119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503614"/>
                <a:gd name="adj2" fmla="val 9282250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9" name="Chord 8">
              <a:extLst>
                <a:ext uri="{FF2B5EF4-FFF2-40B4-BE49-F238E27FC236}">
                  <a16:creationId xmlns:a16="http://schemas.microsoft.com/office/drawing/2014/main" id="{25ADE3A3-9F3B-123F-E42B-C92A9826C0A0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2082273"/>
                <a:gd name="adj2" fmla="val 8808404"/>
              </a:avLst>
            </a:prstGeom>
            <a:solidFill>
              <a:schemeClr val="accent2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EC128F9-47CA-5798-D562-5B0B645D5E8B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8" name="Picture 1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5231A054-027D-8F76-2A2E-0B02DFF94A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4B9DEE3C-2F64-EBCF-0D05-5E44EDF5AC7E}"/>
              </a:ext>
            </a:extLst>
          </p:cNvPr>
          <p:cNvGrpSpPr/>
          <p:nvPr userDrawn="1"/>
        </p:nvGrpSpPr>
        <p:grpSpPr>
          <a:xfrm>
            <a:off x="7375255" y="-3660940"/>
            <a:ext cx="5720108" cy="5720108"/>
            <a:chOff x="105150" y="-3122465"/>
            <a:chExt cx="5720108" cy="5720108"/>
          </a:xfrm>
        </p:grpSpPr>
        <p:sp>
          <p:nvSpPr>
            <p:cNvPr id="20" name="Chord 19">
              <a:extLst>
                <a:ext uri="{FF2B5EF4-FFF2-40B4-BE49-F238E27FC236}">
                  <a16:creationId xmlns:a16="http://schemas.microsoft.com/office/drawing/2014/main" id="{37378F9C-F09E-C1D3-9A5C-B0BA55D23605}"/>
                </a:ext>
              </a:extLst>
            </p:cNvPr>
            <p:cNvSpPr/>
            <p:nvPr/>
          </p:nvSpPr>
          <p:spPr>
            <a:xfrm>
              <a:off x="105150" y="-3122465"/>
              <a:ext cx="5720108" cy="5720108"/>
            </a:xfrm>
            <a:prstGeom prst="chord">
              <a:avLst>
                <a:gd name="adj1" fmla="val 972540"/>
                <a:gd name="adj2" fmla="val 988089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1" name="Chord 20">
              <a:extLst>
                <a:ext uri="{FF2B5EF4-FFF2-40B4-BE49-F238E27FC236}">
                  <a16:creationId xmlns:a16="http://schemas.microsoft.com/office/drawing/2014/main" id="{5D0DBE58-5232-4701-B261-C50D9C6BEF3B}"/>
                </a:ext>
              </a:extLst>
            </p:cNvPr>
            <p:cNvSpPr/>
            <p:nvPr/>
          </p:nvSpPr>
          <p:spPr>
            <a:xfrm>
              <a:off x="604591" y="-2579372"/>
              <a:ext cx="4721226" cy="4633922"/>
            </a:xfrm>
            <a:prstGeom prst="chord">
              <a:avLst>
                <a:gd name="adj1" fmla="val 1171149"/>
                <a:gd name="adj2" fmla="val 9595435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2" name="Chord 21">
              <a:extLst>
                <a:ext uri="{FF2B5EF4-FFF2-40B4-BE49-F238E27FC236}">
                  <a16:creationId xmlns:a16="http://schemas.microsoft.com/office/drawing/2014/main" id="{0DD4C8A8-A989-0848-C0BB-5CD49555566B}"/>
                </a:ext>
              </a:extLst>
            </p:cNvPr>
            <p:cNvSpPr/>
            <p:nvPr/>
          </p:nvSpPr>
          <p:spPr>
            <a:xfrm>
              <a:off x="1181381" y="-2013248"/>
              <a:ext cx="3567647" cy="3501674"/>
            </a:xfrm>
            <a:prstGeom prst="chord">
              <a:avLst>
                <a:gd name="adj1" fmla="val 1517033"/>
                <a:gd name="adj2" fmla="val 9345714"/>
              </a:avLst>
            </a:prstGeom>
            <a:solidFill>
              <a:schemeClr val="accent5">
                <a:alpha val="3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1727496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0">
            <a:extLst>
              <a:ext uri="{FF2B5EF4-FFF2-40B4-BE49-F238E27FC236}">
                <a16:creationId xmlns:a16="http://schemas.microsoft.com/office/drawing/2014/main" id="{810BDFDA-EE48-88A2-8966-9DFA17417D2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495967" y="2552009"/>
            <a:ext cx="2670148" cy="267854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B8ADFF3-CB7C-2340-DA65-45BD32B7DA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577" y="2552746"/>
            <a:ext cx="4207483" cy="2543175"/>
          </a:xfrm>
        </p:spPr>
        <p:txBody>
          <a:bodyPr lIns="0" rIns="0" anchor="ctr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  <a:lvl2pPr marL="6351" indent="0">
              <a:buNone/>
              <a:tabLst/>
              <a:defRPr sz="2000">
                <a:solidFill>
                  <a:schemeClr val="accent1"/>
                </a:solidFill>
              </a:defRPr>
            </a:lvl2pPr>
            <a:lvl3pPr marL="6351" indent="0">
              <a:buNone/>
              <a:tabLst/>
              <a:defRPr sz="160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Name</a:t>
            </a:r>
          </a:p>
          <a:p>
            <a:pPr lvl="1"/>
            <a:r>
              <a:rPr lang="en-US"/>
              <a:t>Organization</a:t>
            </a:r>
          </a:p>
          <a:p>
            <a:pPr lvl="2"/>
            <a:r>
              <a:rPr lang="en-US"/>
              <a:t>Tit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8E4E9A05-DAB8-9D59-7FD4-F1C889769EB6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64869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A238F23-507B-3BE1-5E58-529BC1F72C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366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EAD71DD9-030F-E9A0-75F8-AB1F6A89D4D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5366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AB1BA26-4469-BF4D-786E-A6CFC7DD30D6}"/>
              </a:ext>
            </a:extLst>
          </p:cNvPr>
          <p:cNvCxnSpPr>
            <a:cxnSpLocks/>
          </p:cNvCxnSpPr>
          <p:nvPr userDrawn="1"/>
        </p:nvCxnSpPr>
        <p:spPr>
          <a:xfrm>
            <a:off x="5258844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9" name="Picture 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E86F2C37-AE58-3FA2-FBDD-FCB6505B09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14844"/>
            <a:ext cx="1323511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0921E300-150A-3068-6A92-48686570DDC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55350" y="195821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4349" y="4235782"/>
            <a:ext cx="4119477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Name</a:t>
            </a:r>
          </a:p>
          <a:p>
            <a:pPr lvl="1"/>
            <a:r>
              <a:rPr lang="en-US"/>
              <a:t>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BC5667FC-2596-FEE3-5345-88F139CCB81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38653" y="195821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37652" y="4235782"/>
            <a:ext cx="4119477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Name</a:t>
            </a:r>
          </a:p>
          <a:p>
            <a:pPr lvl="1"/>
            <a:r>
              <a:rPr lang="en-US"/>
              <a:t>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366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5366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58844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E495B2F-FEC8-0385-0378-276EBC78838F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4" name="Picture 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5220D7E9-22A7-AD59-AAD2-FB1A4AC8D8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908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BC5667FC-2596-FEE3-5345-88F139CCB81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599251" y="195821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B48EC1A1-7D43-BADF-C955-D9D2305CD75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37263" y="195821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6A6A78D-DC10-BEBE-0CDA-6C7833C13A9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88925" y="195821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0476" y="4235783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Name</a:t>
            </a:r>
          </a:p>
          <a:p>
            <a:pPr lvl="1"/>
            <a:r>
              <a:rPr lang="en-US"/>
              <a:t>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5313" y="4235784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Name</a:t>
            </a:r>
          </a:p>
          <a:p>
            <a:pPr lvl="1"/>
            <a:r>
              <a:rPr lang="en-US"/>
              <a:t>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00150" y="4235782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Name</a:t>
            </a:r>
          </a:p>
          <a:p>
            <a:pPr lvl="1"/>
            <a:r>
              <a:rPr lang="en-US"/>
              <a:t>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50D36E7-90AE-952C-E53A-C84A4D3CF8A8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4" name="Picture 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4EF0E661-6600-79C9-3029-A8C9A12E1D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990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0921E300-150A-3068-6A92-48686570DDC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9280" y="195821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082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Name</a:t>
            </a:r>
          </a:p>
          <a:p>
            <a:pPr lvl="1"/>
            <a:r>
              <a:rPr lang="en-US"/>
              <a:t>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BC5667FC-2596-FEE3-5345-88F139CCB81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850750" y="195821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B48EC1A1-7D43-BADF-C955-D9D2305CD75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52220" y="195821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6A6A78D-DC10-BEBE-0CDA-6C7833C13A9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453691" y="195821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30552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Name</a:t>
            </a:r>
          </a:p>
          <a:p>
            <a:pPr lvl="1"/>
            <a:r>
              <a:rPr lang="en-US"/>
              <a:t>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2022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Name</a:t>
            </a:r>
          </a:p>
          <a:p>
            <a:pPr lvl="1"/>
            <a:r>
              <a:rPr lang="en-US"/>
              <a:t>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3493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Speaker Name</a:t>
            </a:r>
          </a:p>
          <a:p>
            <a:pPr lvl="1"/>
            <a:r>
              <a:rPr lang="en-US"/>
              <a:t>Organization</a:t>
            </a:r>
          </a:p>
          <a:p>
            <a:pPr lvl="2"/>
            <a:r>
              <a:rPr lang="en-US"/>
              <a:t>Speaker Tit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55E1BF0C-AB7A-5FB2-60CD-DE8C423E3BC9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27" name="Picture 2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92B9F71A-BED9-D2D6-9321-C625684150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721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629"/>
          <a:stretch/>
        </p:blipFill>
        <p:spPr>
          <a:xfrm>
            <a:off x="0" y="0"/>
            <a:ext cx="3953437" cy="6858000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B8ADFF3-CB7C-2340-DA65-45BD32B7DA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577" y="2164793"/>
            <a:ext cx="4351788" cy="2543175"/>
          </a:xfrm>
        </p:spPr>
        <p:txBody>
          <a:bodyPr lIns="0" rIns="0" anchor="ctr">
            <a:normAutofit/>
          </a:bodyPr>
          <a:lstStyle>
            <a:lvl1pPr marL="0" indent="0">
              <a:lnSpc>
                <a:spcPct val="100000"/>
              </a:lnSpc>
              <a:buNone/>
              <a:defRPr sz="3200" b="1" spc="40" baseline="0">
                <a:solidFill>
                  <a:schemeClr val="accent1"/>
                </a:solidFill>
              </a:defRPr>
            </a:lvl1pPr>
            <a:lvl2pPr marL="6351" indent="0">
              <a:lnSpc>
                <a:spcPct val="100000"/>
              </a:lnSpc>
              <a:buNone/>
              <a:tabLst/>
              <a:defRPr sz="2400" spc="40">
                <a:solidFill>
                  <a:schemeClr val="accent1"/>
                </a:solidFill>
              </a:defRPr>
            </a:lvl2pPr>
            <a:lvl3pPr marL="6351" indent="0">
              <a:lnSpc>
                <a:spcPct val="100000"/>
              </a:lnSpc>
              <a:buNone/>
              <a:tabLst/>
              <a:defRPr sz="1800" spc="4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2" y="0"/>
            <a:ext cx="3953437" cy="6858000"/>
          </a:xfrm>
          <a:prstGeom prst="rect">
            <a:avLst/>
          </a:prstGeom>
          <a:solidFill>
            <a:schemeClr val="accent5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2168952" y="1655092"/>
            <a:ext cx="3566160" cy="3566160"/>
          </a:xfrm>
          <a:prstGeom prst="arc">
            <a:avLst>
              <a:gd name="adj1" fmla="val 6896465"/>
              <a:gd name="adj2" fmla="val 8818805"/>
            </a:avLst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02C61BF-C069-0363-B0D2-DAA6898F7DC8}"/>
              </a:ext>
            </a:extLst>
          </p:cNvPr>
          <p:cNvSpPr>
            <a:spLocks noChangeAspect="1"/>
          </p:cNvSpPr>
          <p:nvPr userDrawn="1"/>
        </p:nvSpPr>
        <p:spPr>
          <a:xfrm>
            <a:off x="2449654" y="1955899"/>
            <a:ext cx="2971800" cy="29718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6E5DF571-44A5-A36E-77C0-B0517DF656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71315" y="2173584"/>
            <a:ext cx="2528478" cy="253643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Arc 17">
            <a:extLst>
              <a:ext uri="{FF2B5EF4-FFF2-40B4-BE49-F238E27FC236}">
                <a16:creationId xmlns:a16="http://schemas.microsoft.com/office/drawing/2014/main" id="{C5E26A47-661A-77D8-1206-E7E0EFB71F49}"/>
              </a:ext>
            </a:extLst>
          </p:cNvPr>
          <p:cNvSpPr/>
          <p:nvPr userDrawn="1"/>
        </p:nvSpPr>
        <p:spPr>
          <a:xfrm>
            <a:off x="2247781" y="1734204"/>
            <a:ext cx="3408218" cy="3408218"/>
          </a:xfrm>
          <a:prstGeom prst="arc">
            <a:avLst>
              <a:gd name="adj1" fmla="val 16195710"/>
              <a:gd name="adj2" fmla="val 19139618"/>
            </a:avLst>
          </a:prstGeom>
          <a:ln w="38100">
            <a:solidFill>
              <a:schemeClr val="accent5">
                <a:alpha val="7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F8F06EE1-90EC-7EA3-C759-84EE4D6E2330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8637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4992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0921E300-150A-3068-6A92-48686570DDC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84027" y="21277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4349" y="4235782"/>
            <a:ext cx="4119477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37652" y="4235782"/>
            <a:ext cx="4119477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Arc 2">
            <a:extLst>
              <a:ext uri="{FF2B5EF4-FFF2-40B4-BE49-F238E27FC236}">
                <a16:creationId xmlns:a16="http://schemas.microsoft.com/office/drawing/2014/main" id="{EA8FEC01-A47C-0769-0F0A-45EB5812A7F9}"/>
              </a:ext>
            </a:extLst>
          </p:cNvPr>
          <p:cNvSpPr/>
          <p:nvPr userDrawn="1"/>
        </p:nvSpPr>
        <p:spPr>
          <a:xfrm>
            <a:off x="2367317" y="19137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D9DD3650-AB75-F631-B1DE-B6F1D86C5C07}"/>
              </a:ext>
            </a:extLst>
          </p:cNvPr>
          <p:cNvSpPr/>
          <p:nvPr userDrawn="1"/>
        </p:nvSpPr>
        <p:spPr>
          <a:xfrm>
            <a:off x="2367317" y="19137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A6DF1E54-F4A1-E83F-8FBA-19DDE5AAC86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890500" y="21277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248BFC27-9417-BC11-7243-27892505071D}"/>
              </a:ext>
            </a:extLst>
          </p:cNvPr>
          <p:cNvSpPr/>
          <p:nvPr userDrawn="1"/>
        </p:nvSpPr>
        <p:spPr>
          <a:xfrm>
            <a:off x="7673790" y="19137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rc 7">
            <a:extLst>
              <a:ext uri="{FF2B5EF4-FFF2-40B4-BE49-F238E27FC236}">
                <a16:creationId xmlns:a16="http://schemas.microsoft.com/office/drawing/2014/main" id="{6F8AD76B-4766-500E-E593-975A7F1AACB1}"/>
              </a:ext>
            </a:extLst>
          </p:cNvPr>
          <p:cNvSpPr/>
          <p:nvPr userDrawn="1"/>
        </p:nvSpPr>
        <p:spPr>
          <a:xfrm>
            <a:off x="7673790" y="19137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AE7797B-2D53-2743-D8B1-C47E14A7124C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9" name="Picture 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DFD8DDF1-7740-FB7C-A212-71541271E9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401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8761E293-D9B4-0F86-0B0B-6AA5ED2AE0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153" y="6537008"/>
            <a:ext cx="753859" cy="156096"/>
          </a:xfrm>
          <a:prstGeom prst="rect">
            <a:avLst/>
          </a:prstGeom>
        </p:spPr>
      </p:pic>
      <p:sp>
        <p:nvSpPr>
          <p:cNvPr id="2" name="Picture Placeholder 7">
            <a:extLst>
              <a:ext uri="{FF2B5EF4-FFF2-40B4-BE49-F238E27FC236}">
                <a16:creationId xmlns:a16="http://schemas.microsoft.com/office/drawing/2014/main" id="{A03CFE9E-F9D8-6915-4AB7-362C3E40825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686824" y="-222200"/>
            <a:ext cx="7302399" cy="7302399"/>
          </a:xfrm>
          <a:prstGeom prst="chord">
            <a:avLst>
              <a:gd name="adj1" fmla="val 14891008"/>
              <a:gd name="adj2" fmla="val 14728125"/>
            </a:avLst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/>
              <a:t>Click icon or </a:t>
            </a:r>
            <a:br>
              <a:rPr lang="en-US"/>
            </a:br>
            <a:r>
              <a:rPr lang="en-US"/>
              <a:t>drag&amp; drop to </a:t>
            </a:r>
            <a:br>
              <a:rPr lang="en-US"/>
            </a:br>
            <a:r>
              <a:rPr lang="en-US"/>
              <a:t>add a photo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93DE41-638F-98F6-5536-83B2244FB78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70937" y="2173548"/>
            <a:ext cx="7104207" cy="3978275"/>
          </a:xfrm>
        </p:spPr>
        <p:txBody>
          <a:bodyPr lIns="0" rIns="0"/>
          <a:lstStyle>
            <a:lvl1pPr marL="0" indent="0">
              <a:buNone/>
              <a:defRPr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88A9E8B-D116-858A-EC47-80BD6AF2BD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0937" y="368472"/>
            <a:ext cx="7111463" cy="704955"/>
          </a:xfrm>
        </p:spPr>
        <p:txBody>
          <a:bodyPr lIns="0" rIns="0" anchor="b">
            <a:normAutofit/>
          </a:bodyPr>
          <a:lstStyle>
            <a:lvl1pPr marL="0" algn="l" defTabSz="9143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6ED60761-73A6-A05D-E6E1-596B967C8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8193" y="1241371"/>
            <a:ext cx="7104207" cy="429635"/>
          </a:xfrm>
        </p:spPr>
        <p:txBody>
          <a:bodyPr lIns="0" rIns="0">
            <a:normAutofit/>
          </a:bodyPr>
          <a:lstStyle>
            <a:lvl1pPr marL="0" indent="0" algn="l" defTabSz="91438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B13B303-9934-88D1-F879-E130155052E5}"/>
              </a:ext>
            </a:extLst>
          </p:cNvPr>
          <p:cNvCxnSpPr>
            <a:cxnSpLocks/>
          </p:cNvCxnSpPr>
          <p:nvPr userDrawn="1"/>
        </p:nvCxnSpPr>
        <p:spPr>
          <a:xfrm>
            <a:off x="4457701" y="1158465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0288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808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0476" y="4235783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5313" y="4235784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00150" y="4235782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865EFAE0-675D-E4C9-D033-8A31F875BA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99251" y="20198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3" name="Arc 2">
            <a:extLst>
              <a:ext uri="{FF2B5EF4-FFF2-40B4-BE49-F238E27FC236}">
                <a16:creationId xmlns:a16="http://schemas.microsoft.com/office/drawing/2014/main" id="{7845045A-9483-5D3B-15A3-4CF7F6C7FA6E}"/>
              </a:ext>
            </a:extLst>
          </p:cNvPr>
          <p:cNvSpPr/>
          <p:nvPr userDrawn="1"/>
        </p:nvSpPr>
        <p:spPr>
          <a:xfrm>
            <a:off x="1382541" y="18058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21F4F86A-84AA-A12E-2D21-A90F5EE6C440}"/>
              </a:ext>
            </a:extLst>
          </p:cNvPr>
          <p:cNvSpPr/>
          <p:nvPr userDrawn="1"/>
        </p:nvSpPr>
        <p:spPr>
          <a:xfrm>
            <a:off x="1382541" y="18058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2355948A-074D-0627-025D-E49F0D47260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244088" y="20198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72BB7351-96C7-2250-6CBB-28EBF85083B0}"/>
              </a:ext>
            </a:extLst>
          </p:cNvPr>
          <p:cNvSpPr/>
          <p:nvPr userDrawn="1"/>
        </p:nvSpPr>
        <p:spPr>
          <a:xfrm>
            <a:off x="5027378" y="18058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D47057DB-80B0-654D-90EE-BB897C8F3FA9}"/>
              </a:ext>
            </a:extLst>
          </p:cNvPr>
          <p:cNvSpPr/>
          <p:nvPr userDrawn="1"/>
        </p:nvSpPr>
        <p:spPr>
          <a:xfrm>
            <a:off x="5027378" y="18058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4A3248EA-BA76-20C7-B18E-B6A2B03F94D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888925" y="20198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DF9EF6AA-BCCF-16BA-1338-495BC4F6C617}"/>
              </a:ext>
            </a:extLst>
          </p:cNvPr>
          <p:cNvSpPr/>
          <p:nvPr userDrawn="1"/>
        </p:nvSpPr>
        <p:spPr>
          <a:xfrm>
            <a:off x="8672215" y="18058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Arc 17">
            <a:extLst>
              <a:ext uri="{FF2B5EF4-FFF2-40B4-BE49-F238E27FC236}">
                <a16:creationId xmlns:a16="http://schemas.microsoft.com/office/drawing/2014/main" id="{4CF23B48-93C8-82C3-A456-6039B56FA1D5}"/>
              </a:ext>
            </a:extLst>
          </p:cNvPr>
          <p:cNvSpPr/>
          <p:nvPr userDrawn="1"/>
        </p:nvSpPr>
        <p:spPr>
          <a:xfrm>
            <a:off x="8672215" y="18058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0FD37A03-0C39-8E9A-4825-4A306F37B225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23" name="Picture 22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31B4EA73-C20E-74D1-F3F3-4CC65CDAF5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4241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082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30552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2022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3493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916B36FD-E9C7-0EB7-4644-B045FADB85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9280" y="203195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4ED6FD4A-B9F9-0837-DB72-5C770519EEF2}"/>
              </a:ext>
            </a:extLst>
          </p:cNvPr>
          <p:cNvSpPr/>
          <p:nvPr userDrawn="1"/>
        </p:nvSpPr>
        <p:spPr>
          <a:xfrm>
            <a:off x="832570" y="1817943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3879B161-1AE2-FADA-334A-EFF2705442B2}"/>
              </a:ext>
            </a:extLst>
          </p:cNvPr>
          <p:cNvSpPr/>
          <p:nvPr userDrawn="1"/>
        </p:nvSpPr>
        <p:spPr>
          <a:xfrm>
            <a:off x="832570" y="1817943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7328D67A-6990-6860-7D63-8EBD5F23BAC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50750" y="203195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2ED2785D-F10D-C3F1-CD79-DDF830F565C7}"/>
              </a:ext>
            </a:extLst>
          </p:cNvPr>
          <p:cNvSpPr/>
          <p:nvPr userDrawn="1"/>
        </p:nvSpPr>
        <p:spPr>
          <a:xfrm>
            <a:off x="3634040" y="1817943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D57C4C20-7530-E470-7383-AE41F046A1D7}"/>
              </a:ext>
            </a:extLst>
          </p:cNvPr>
          <p:cNvSpPr/>
          <p:nvPr userDrawn="1"/>
        </p:nvSpPr>
        <p:spPr>
          <a:xfrm>
            <a:off x="3634040" y="1817943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D32EAB26-5370-6E5A-64B1-4E63CC98E0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52220" y="203195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C0AD66CC-EC9B-A4CD-A7B9-42ED1646CB6C}"/>
              </a:ext>
            </a:extLst>
          </p:cNvPr>
          <p:cNvSpPr/>
          <p:nvPr userDrawn="1"/>
        </p:nvSpPr>
        <p:spPr>
          <a:xfrm>
            <a:off x="6435510" y="1817943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Arc 22">
            <a:extLst>
              <a:ext uri="{FF2B5EF4-FFF2-40B4-BE49-F238E27FC236}">
                <a16:creationId xmlns:a16="http://schemas.microsoft.com/office/drawing/2014/main" id="{6E724543-4743-391D-133C-C13841B63EA8}"/>
              </a:ext>
            </a:extLst>
          </p:cNvPr>
          <p:cNvSpPr/>
          <p:nvPr userDrawn="1"/>
        </p:nvSpPr>
        <p:spPr>
          <a:xfrm>
            <a:off x="6435510" y="1817943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A422CF18-5A3F-9CEA-0302-225E0F8673C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453691" y="203195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5" name="Arc 24">
            <a:extLst>
              <a:ext uri="{FF2B5EF4-FFF2-40B4-BE49-F238E27FC236}">
                <a16:creationId xmlns:a16="http://schemas.microsoft.com/office/drawing/2014/main" id="{77D2335B-E767-A773-6A8A-16A2CC76473A}"/>
              </a:ext>
            </a:extLst>
          </p:cNvPr>
          <p:cNvSpPr/>
          <p:nvPr userDrawn="1"/>
        </p:nvSpPr>
        <p:spPr>
          <a:xfrm>
            <a:off x="9236981" y="1817943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Arc 25">
            <a:extLst>
              <a:ext uri="{FF2B5EF4-FFF2-40B4-BE49-F238E27FC236}">
                <a16:creationId xmlns:a16="http://schemas.microsoft.com/office/drawing/2014/main" id="{4232EF04-DFEA-B19B-2994-47F6D5F805CF}"/>
              </a:ext>
            </a:extLst>
          </p:cNvPr>
          <p:cNvSpPr/>
          <p:nvPr userDrawn="1"/>
        </p:nvSpPr>
        <p:spPr>
          <a:xfrm>
            <a:off x="9236981" y="1817943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DB18C11A-0BED-0028-13BD-7C1EE0E0DCC4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28" name="Picture 2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A9F90631-A342-0DF5-9F46-F9119EB381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555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629"/>
          <a:stretch/>
        </p:blipFill>
        <p:spPr>
          <a:xfrm>
            <a:off x="0" y="0"/>
            <a:ext cx="3953437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2" y="0"/>
            <a:ext cx="3953437" cy="6858000"/>
          </a:xfrm>
          <a:prstGeom prst="rect">
            <a:avLst/>
          </a:prstGeom>
          <a:solidFill>
            <a:schemeClr val="accent3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04211FC1-A1D3-9CB4-C1BB-A6B6AB173BB1}"/>
              </a:ext>
            </a:extLst>
          </p:cNvPr>
          <p:cNvSpPr>
            <a:spLocks noChangeAspect="1"/>
          </p:cNvSpPr>
          <p:nvPr userDrawn="1"/>
        </p:nvSpPr>
        <p:spPr>
          <a:xfrm>
            <a:off x="2449654" y="1955899"/>
            <a:ext cx="2971800" cy="29718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Picture Placeholder 10">
            <a:extLst>
              <a:ext uri="{FF2B5EF4-FFF2-40B4-BE49-F238E27FC236}">
                <a16:creationId xmlns:a16="http://schemas.microsoft.com/office/drawing/2014/main" id="{810BDFDA-EE48-88A2-8966-9DFA17417D2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71315" y="2173584"/>
            <a:ext cx="2528478" cy="253643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2168952" y="1655092"/>
            <a:ext cx="3566160" cy="3566160"/>
          </a:xfrm>
          <a:prstGeom prst="arc">
            <a:avLst>
              <a:gd name="adj1" fmla="val 6896465"/>
              <a:gd name="adj2" fmla="val 8818805"/>
            </a:avLst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Arc 2">
            <a:extLst>
              <a:ext uri="{FF2B5EF4-FFF2-40B4-BE49-F238E27FC236}">
                <a16:creationId xmlns:a16="http://schemas.microsoft.com/office/drawing/2014/main" id="{8C8FF18D-29A5-1F5D-7963-9FDA4BC66886}"/>
              </a:ext>
            </a:extLst>
          </p:cNvPr>
          <p:cNvSpPr/>
          <p:nvPr userDrawn="1"/>
        </p:nvSpPr>
        <p:spPr>
          <a:xfrm>
            <a:off x="2247781" y="1734204"/>
            <a:ext cx="3408218" cy="3408218"/>
          </a:xfrm>
          <a:prstGeom prst="arc">
            <a:avLst>
              <a:gd name="adj1" fmla="val 16195710"/>
              <a:gd name="adj2" fmla="val 19139618"/>
            </a:avLst>
          </a:prstGeom>
          <a:ln w="38100">
            <a:solidFill>
              <a:schemeClr val="accent3">
                <a:alpha val="7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08ADA7B-80D4-677E-C859-DE8FB09DAA4E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51D0599B-9F14-59F6-48C2-398747F4A8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577" y="2164793"/>
            <a:ext cx="4351788" cy="2543175"/>
          </a:xfrm>
        </p:spPr>
        <p:txBody>
          <a:bodyPr lIns="0" rIns="0" anchor="ctr">
            <a:normAutofit/>
          </a:bodyPr>
          <a:lstStyle>
            <a:lvl1pPr marL="0" indent="0">
              <a:lnSpc>
                <a:spcPct val="100000"/>
              </a:lnSpc>
              <a:buNone/>
              <a:defRPr sz="3200" b="1" spc="40" baseline="0">
                <a:solidFill>
                  <a:schemeClr val="accent1"/>
                </a:solidFill>
              </a:defRPr>
            </a:lvl1pPr>
            <a:lvl2pPr marL="6351" indent="0">
              <a:lnSpc>
                <a:spcPct val="100000"/>
              </a:lnSpc>
              <a:buNone/>
              <a:tabLst/>
              <a:defRPr sz="2400" spc="40">
                <a:solidFill>
                  <a:schemeClr val="accent1"/>
                </a:solidFill>
              </a:defRPr>
            </a:lvl2pPr>
            <a:lvl3pPr marL="6351" indent="0">
              <a:lnSpc>
                <a:spcPct val="100000"/>
              </a:lnSpc>
              <a:buNone/>
              <a:tabLst/>
              <a:defRPr sz="1800" spc="4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</p:spTree>
    <p:extLst>
      <p:ext uri="{BB962C8B-B14F-4D97-AF65-F5344CB8AC3E}">
        <p14:creationId xmlns:p14="http://schemas.microsoft.com/office/powerpoint/2010/main" val="1219443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4992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0921E300-150A-3068-6A92-48686570DDC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84027" y="21277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4349" y="4235782"/>
            <a:ext cx="4119477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37652" y="4235782"/>
            <a:ext cx="4119477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Arc 2">
            <a:extLst>
              <a:ext uri="{FF2B5EF4-FFF2-40B4-BE49-F238E27FC236}">
                <a16:creationId xmlns:a16="http://schemas.microsoft.com/office/drawing/2014/main" id="{EA8FEC01-A47C-0769-0F0A-45EB5812A7F9}"/>
              </a:ext>
            </a:extLst>
          </p:cNvPr>
          <p:cNvSpPr/>
          <p:nvPr userDrawn="1"/>
        </p:nvSpPr>
        <p:spPr>
          <a:xfrm>
            <a:off x="2367317" y="19137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D9DD3650-AB75-F631-B1DE-B6F1D86C5C07}"/>
              </a:ext>
            </a:extLst>
          </p:cNvPr>
          <p:cNvSpPr/>
          <p:nvPr userDrawn="1"/>
        </p:nvSpPr>
        <p:spPr>
          <a:xfrm>
            <a:off x="2367317" y="19137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A6DF1E54-F4A1-E83F-8FBA-19DDE5AAC86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890500" y="21277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248BFC27-9417-BC11-7243-27892505071D}"/>
              </a:ext>
            </a:extLst>
          </p:cNvPr>
          <p:cNvSpPr/>
          <p:nvPr userDrawn="1"/>
        </p:nvSpPr>
        <p:spPr>
          <a:xfrm>
            <a:off x="7673790" y="19137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rc 7">
            <a:extLst>
              <a:ext uri="{FF2B5EF4-FFF2-40B4-BE49-F238E27FC236}">
                <a16:creationId xmlns:a16="http://schemas.microsoft.com/office/drawing/2014/main" id="{6F8AD76B-4766-500E-E593-975A7F1AACB1}"/>
              </a:ext>
            </a:extLst>
          </p:cNvPr>
          <p:cNvSpPr/>
          <p:nvPr userDrawn="1"/>
        </p:nvSpPr>
        <p:spPr>
          <a:xfrm>
            <a:off x="7673790" y="19137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43B80AE-D1C2-71D5-4464-5BBC7A4E316C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9" name="Picture 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AC846A85-7E88-92EA-8EEC-E82D4A8899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831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0476" y="4235783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5313" y="4235784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00150" y="4235782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865EFAE0-675D-E4C9-D033-8A31F875BA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99251" y="20198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3" name="Arc 2">
            <a:extLst>
              <a:ext uri="{FF2B5EF4-FFF2-40B4-BE49-F238E27FC236}">
                <a16:creationId xmlns:a16="http://schemas.microsoft.com/office/drawing/2014/main" id="{7845045A-9483-5D3B-15A3-4CF7F6C7FA6E}"/>
              </a:ext>
            </a:extLst>
          </p:cNvPr>
          <p:cNvSpPr/>
          <p:nvPr userDrawn="1"/>
        </p:nvSpPr>
        <p:spPr>
          <a:xfrm>
            <a:off x="1382541" y="18058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21F4F86A-84AA-A12E-2D21-A90F5EE6C440}"/>
              </a:ext>
            </a:extLst>
          </p:cNvPr>
          <p:cNvSpPr/>
          <p:nvPr userDrawn="1"/>
        </p:nvSpPr>
        <p:spPr>
          <a:xfrm>
            <a:off x="1382541" y="18058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2355948A-074D-0627-025D-E49F0D47260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244088" y="20198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72BB7351-96C7-2250-6CBB-28EBF85083B0}"/>
              </a:ext>
            </a:extLst>
          </p:cNvPr>
          <p:cNvSpPr/>
          <p:nvPr userDrawn="1"/>
        </p:nvSpPr>
        <p:spPr>
          <a:xfrm>
            <a:off x="5027378" y="18058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D47057DB-80B0-654D-90EE-BB897C8F3FA9}"/>
              </a:ext>
            </a:extLst>
          </p:cNvPr>
          <p:cNvSpPr/>
          <p:nvPr userDrawn="1"/>
        </p:nvSpPr>
        <p:spPr>
          <a:xfrm>
            <a:off x="5027378" y="18058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4A3248EA-BA76-20C7-B18E-B6A2B03F94D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888925" y="20198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DF9EF6AA-BCCF-16BA-1338-495BC4F6C617}"/>
              </a:ext>
            </a:extLst>
          </p:cNvPr>
          <p:cNvSpPr/>
          <p:nvPr userDrawn="1"/>
        </p:nvSpPr>
        <p:spPr>
          <a:xfrm>
            <a:off x="8672215" y="18058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Arc 17">
            <a:extLst>
              <a:ext uri="{FF2B5EF4-FFF2-40B4-BE49-F238E27FC236}">
                <a16:creationId xmlns:a16="http://schemas.microsoft.com/office/drawing/2014/main" id="{4CF23B48-93C8-82C3-A456-6039B56FA1D5}"/>
              </a:ext>
            </a:extLst>
          </p:cNvPr>
          <p:cNvSpPr/>
          <p:nvPr userDrawn="1"/>
        </p:nvSpPr>
        <p:spPr>
          <a:xfrm>
            <a:off x="8672215" y="18058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A205796-911D-42D3-2DCA-D2ED160A36CD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F56534ED-7B7F-221B-EC02-5FDF4004BA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153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082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30552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2022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3493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916B36FD-E9C7-0EB7-4644-B045FADB85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9280" y="203195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4ED6FD4A-B9F9-0837-DB72-5C770519EEF2}"/>
              </a:ext>
            </a:extLst>
          </p:cNvPr>
          <p:cNvSpPr/>
          <p:nvPr userDrawn="1"/>
        </p:nvSpPr>
        <p:spPr>
          <a:xfrm>
            <a:off x="832570" y="1817943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3879B161-1AE2-FADA-334A-EFF2705442B2}"/>
              </a:ext>
            </a:extLst>
          </p:cNvPr>
          <p:cNvSpPr/>
          <p:nvPr userDrawn="1"/>
        </p:nvSpPr>
        <p:spPr>
          <a:xfrm>
            <a:off x="832570" y="1817943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7328D67A-6990-6860-7D63-8EBD5F23BAC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50750" y="203195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2ED2785D-F10D-C3F1-CD79-DDF830F565C7}"/>
              </a:ext>
            </a:extLst>
          </p:cNvPr>
          <p:cNvSpPr/>
          <p:nvPr userDrawn="1"/>
        </p:nvSpPr>
        <p:spPr>
          <a:xfrm>
            <a:off x="3634040" y="1817943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D57C4C20-7530-E470-7383-AE41F046A1D7}"/>
              </a:ext>
            </a:extLst>
          </p:cNvPr>
          <p:cNvSpPr/>
          <p:nvPr userDrawn="1"/>
        </p:nvSpPr>
        <p:spPr>
          <a:xfrm>
            <a:off x="3634040" y="1817943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D32EAB26-5370-6E5A-64B1-4E63CC98E0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52220" y="203195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C0AD66CC-EC9B-A4CD-A7B9-42ED1646CB6C}"/>
              </a:ext>
            </a:extLst>
          </p:cNvPr>
          <p:cNvSpPr/>
          <p:nvPr userDrawn="1"/>
        </p:nvSpPr>
        <p:spPr>
          <a:xfrm>
            <a:off x="6435510" y="1817943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Arc 22">
            <a:extLst>
              <a:ext uri="{FF2B5EF4-FFF2-40B4-BE49-F238E27FC236}">
                <a16:creationId xmlns:a16="http://schemas.microsoft.com/office/drawing/2014/main" id="{6E724543-4743-391D-133C-C13841B63EA8}"/>
              </a:ext>
            </a:extLst>
          </p:cNvPr>
          <p:cNvSpPr/>
          <p:nvPr userDrawn="1"/>
        </p:nvSpPr>
        <p:spPr>
          <a:xfrm>
            <a:off x="6435510" y="1817943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A422CF18-5A3F-9CEA-0302-225E0F8673C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453691" y="203195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5" name="Arc 24">
            <a:extLst>
              <a:ext uri="{FF2B5EF4-FFF2-40B4-BE49-F238E27FC236}">
                <a16:creationId xmlns:a16="http://schemas.microsoft.com/office/drawing/2014/main" id="{77D2335B-E767-A773-6A8A-16A2CC76473A}"/>
              </a:ext>
            </a:extLst>
          </p:cNvPr>
          <p:cNvSpPr/>
          <p:nvPr userDrawn="1"/>
        </p:nvSpPr>
        <p:spPr>
          <a:xfrm>
            <a:off x="9236981" y="1817943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Arc 25">
            <a:extLst>
              <a:ext uri="{FF2B5EF4-FFF2-40B4-BE49-F238E27FC236}">
                <a16:creationId xmlns:a16="http://schemas.microsoft.com/office/drawing/2014/main" id="{4232EF04-DFEA-B19B-2994-47F6D5F805CF}"/>
              </a:ext>
            </a:extLst>
          </p:cNvPr>
          <p:cNvSpPr/>
          <p:nvPr userDrawn="1"/>
        </p:nvSpPr>
        <p:spPr>
          <a:xfrm>
            <a:off x="9236981" y="1817943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4BECF39-AEC7-190C-DCFF-404879FB2D42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26CF2825-01B8-E296-3BF9-CE9648CD87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23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white surface with dots&#10;&#10;Description automatically generated">
            <a:extLst>
              <a:ext uri="{FF2B5EF4-FFF2-40B4-BE49-F238E27FC236}">
                <a16:creationId xmlns:a16="http://schemas.microsoft.com/office/drawing/2014/main" id="{FD8F867D-9BC0-96D6-E925-2C22EDC28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629"/>
          <a:stretch/>
        </p:blipFill>
        <p:spPr>
          <a:xfrm>
            <a:off x="0" y="0"/>
            <a:ext cx="3953437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9730804-510E-C261-9B13-47A2451A3E0E}"/>
              </a:ext>
            </a:extLst>
          </p:cNvPr>
          <p:cNvSpPr/>
          <p:nvPr userDrawn="1"/>
        </p:nvSpPr>
        <p:spPr>
          <a:xfrm>
            <a:off x="2" y="0"/>
            <a:ext cx="3953437" cy="6858000"/>
          </a:xfrm>
          <a:prstGeom prst="rect">
            <a:avLst/>
          </a:prstGeom>
          <a:solidFill>
            <a:schemeClr val="accent4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06067497-6986-2D85-09D0-90E67FAB38DD}"/>
              </a:ext>
            </a:extLst>
          </p:cNvPr>
          <p:cNvSpPr/>
          <p:nvPr userDrawn="1"/>
        </p:nvSpPr>
        <p:spPr>
          <a:xfrm>
            <a:off x="2168952" y="1655092"/>
            <a:ext cx="3566160" cy="3566160"/>
          </a:xfrm>
          <a:prstGeom prst="arc">
            <a:avLst>
              <a:gd name="adj1" fmla="val 6896465"/>
              <a:gd name="adj2" fmla="val 8818805"/>
            </a:avLst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A5158757-180A-27F0-F391-4AF4A52DD295}"/>
              </a:ext>
            </a:extLst>
          </p:cNvPr>
          <p:cNvSpPr>
            <a:spLocks noChangeAspect="1"/>
          </p:cNvSpPr>
          <p:nvPr userDrawn="1"/>
        </p:nvSpPr>
        <p:spPr>
          <a:xfrm>
            <a:off x="2449654" y="1955899"/>
            <a:ext cx="2971800" cy="29718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D3223CE2-BE96-BA32-BC41-72D7C8E35C4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71315" y="2173584"/>
            <a:ext cx="2528478" cy="253643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AD2AA2F8-DEF1-2E59-2A2C-DA7228240DFD}"/>
              </a:ext>
            </a:extLst>
          </p:cNvPr>
          <p:cNvSpPr/>
          <p:nvPr userDrawn="1"/>
        </p:nvSpPr>
        <p:spPr>
          <a:xfrm>
            <a:off x="2247781" y="1734204"/>
            <a:ext cx="3408218" cy="3408218"/>
          </a:xfrm>
          <a:prstGeom prst="arc">
            <a:avLst>
              <a:gd name="adj1" fmla="val 16195710"/>
              <a:gd name="adj2" fmla="val 19139618"/>
            </a:avLst>
          </a:prstGeom>
          <a:ln w="38100">
            <a:solidFill>
              <a:schemeClr val="accent4">
                <a:alpha val="7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F339642-4EBF-39A8-1E9D-74A6E5C296FD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F19CFD58-C58F-6313-C173-CDD5F51E2F0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577" y="2164793"/>
            <a:ext cx="4351788" cy="2543175"/>
          </a:xfrm>
        </p:spPr>
        <p:txBody>
          <a:bodyPr lIns="0" rIns="0" anchor="ctr">
            <a:normAutofit/>
          </a:bodyPr>
          <a:lstStyle>
            <a:lvl1pPr marL="0" indent="0">
              <a:lnSpc>
                <a:spcPct val="100000"/>
              </a:lnSpc>
              <a:buNone/>
              <a:defRPr sz="3200" b="1" spc="40" baseline="0">
                <a:solidFill>
                  <a:schemeClr val="accent1"/>
                </a:solidFill>
              </a:defRPr>
            </a:lvl1pPr>
            <a:lvl2pPr marL="6351" indent="0">
              <a:lnSpc>
                <a:spcPct val="100000"/>
              </a:lnSpc>
              <a:buNone/>
              <a:tabLst/>
              <a:defRPr sz="2400" spc="40">
                <a:solidFill>
                  <a:schemeClr val="accent1"/>
                </a:solidFill>
              </a:defRPr>
            </a:lvl2pPr>
            <a:lvl3pPr marL="6351" indent="0">
              <a:lnSpc>
                <a:spcPct val="100000"/>
              </a:lnSpc>
              <a:buNone/>
              <a:tabLst/>
              <a:defRPr sz="1800" spc="4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</p:spTree>
    <p:extLst>
      <p:ext uri="{BB962C8B-B14F-4D97-AF65-F5344CB8AC3E}">
        <p14:creationId xmlns:p14="http://schemas.microsoft.com/office/powerpoint/2010/main" val="346785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4992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0921E300-150A-3068-6A92-48686570DDC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84027" y="21277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4349" y="4235782"/>
            <a:ext cx="4119477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37652" y="4235782"/>
            <a:ext cx="4119477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Arc 2">
            <a:extLst>
              <a:ext uri="{FF2B5EF4-FFF2-40B4-BE49-F238E27FC236}">
                <a16:creationId xmlns:a16="http://schemas.microsoft.com/office/drawing/2014/main" id="{EA8FEC01-A47C-0769-0F0A-45EB5812A7F9}"/>
              </a:ext>
            </a:extLst>
          </p:cNvPr>
          <p:cNvSpPr/>
          <p:nvPr userDrawn="1"/>
        </p:nvSpPr>
        <p:spPr>
          <a:xfrm>
            <a:off x="2367317" y="19137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D9DD3650-AB75-F631-B1DE-B6F1D86C5C07}"/>
              </a:ext>
            </a:extLst>
          </p:cNvPr>
          <p:cNvSpPr/>
          <p:nvPr userDrawn="1"/>
        </p:nvSpPr>
        <p:spPr>
          <a:xfrm>
            <a:off x="2367317" y="19137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A6DF1E54-F4A1-E83F-8FBA-19DDE5AAC86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890500" y="21277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248BFC27-9417-BC11-7243-27892505071D}"/>
              </a:ext>
            </a:extLst>
          </p:cNvPr>
          <p:cNvSpPr/>
          <p:nvPr userDrawn="1"/>
        </p:nvSpPr>
        <p:spPr>
          <a:xfrm>
            <a:off x="7673790" y="19137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rc 7">
            <a:extLst>
              <a:ext uri="{FF2B5EF4-FFF2-40B4-BE49-F238E27FC236}">
                <a16:creationId xmlns:a16="http://schemas.microsoft.com/office/drawing/2014/main" id="{6F8AD76B-4766-500E-E593-975A7F1AACB1}"/>
              </a:ext>
            </a:extLst>
          </p:cNvPr>
          <p:cNvSpPr/>
          <p:nvPr userDrawn="1"/>
        </p:nvSpPr>
        <p:spPr>
          <a:xfrm>
            <a:off x="7673790" y="19137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E6E216D-86E6-6301-1B3E-9EFCFC6FFA7C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9" name="Picture 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32080C2C-64B7-A151-F44B-5B84872D30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309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0476" y="4235783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5313" y="4235784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00150" y="4235782"/>
            <a:ext cx="3095024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865EFAE0-675D-E4C9-D033-8A31F875BA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99251" y="20198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3" name="Arc 2">
            <a:extLst>
              <a:ext uri="{FF2B5EF4-FFF2-40B4-BE49-F238E27FC236}">
                <a16:creationId xmlns:a16="http://schemas.microsoft.com/office/drawing/2014/main" id="{7845045A-9483-5D3B-15A3-4CF7F6C7FA6E}"/>
              </a:ext>
            </a:extLst>
          </p:cNvPr>
          <p:cNvSpPr/>
          <p:nvPr userDrawn="1"/>
        </p:nvSpPr>
        <p:spPr>
          <a:xfrm>
            <a:off x="1382541" y="18058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21F4F86A-84AA-A12E-2D21-A90F5EE6C440}"/>
              </a:ext>
            </a:extLst>
          </p:cNvPr>
          <p:cNvSpPr/>
          <p:nvPr userDrawn="1"/>
        </p:nvSpPr>
        <p:spPr>
          <a:xfrm>
            <a:off x="1382541" y="18058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2355948A-074D-0627-025D-E49F0D47260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244088" y="20198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72BB7351-96C7-2250-6CBB-28EBF85083B0}"/>
              </a:ext>
            </a:extLst>
          </p:cNvPr>
          <p:cNvSpPr/>
          <p:nvPr userDrawn="1"/>
        </p:nvSpPr>
        <p:spPr>
          <a:xfrm>
            <a:off x="5027378" y="18058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D47057DB-80B0-654D-90EE-BB897C8F3FA9}"/>
              </a:ext>
            </a:extLst>
          </p:cNvPr>
          <p:cNvSpPr/>
          <p:nvPr userDrawn="1"/>
        </p:nvSpPr>
        <p:spPr>
          <a:xfrm>
            <a:off x="5027378" y="18058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4A3248EA-BA76-20C7-B18E-B6A2B03F94D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888925" y="2019868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DF9EF6AA-BCCF-16BA-1338-495BC4F6C617}"/>
              </a:ext>
            </a:extLst>
          </p:cNvPr>
          <p:cNvSpPr/>
          <p:nvPr userDrawn="1"/>
        </p:nvSpPr>
        <p:spPr>
          <a:xfrm>
            <a:off x="8672215" y="1805858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Arc 17">
            <a:extLst>
              <a:ext uri="{FF2B5EF4-FFF2-40B4-BE49-F238E27FC236}">
                <a16:creationId xmlns:a16="http://schemas.microsoft.com/office/drawing/2014/main" id="{4CF23B48-93C8-82C3-A456-6039B56FA1D5}"/>
              </a:ext>
            </a:extLst>
          </p:cNvPr>
          <p:cNvSpPr/>
          <p:nvPr userDrawn="1"/>
        </p:nvSpPr>
        <p:spPr>
          <a:xfrm>
            <a:off x="8672215" y="1805858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98C56C1-2C0F-3F56-0EAF-4286AE0E6868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04295181-FEE3-3671-D45E-7C29FC072C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144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1AAACD9B-B16C-8C65-91E1-41D2627681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082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296797-C706-0B53-2AE6-713B3AE29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30552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FF83EB8-3365-85A3-30A6-F84FF08B6C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2022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3F107836-92E8-092D-D494-0148A647B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3493" y="4235784"/>
            <a:ext cx="2557871" cy="154644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200" b="1" spc="30" baseline="0">
                <a:solidFill>
                  <a:schemeClr val="accent1"/>
                </a:solidFill>
              </a:defRPr>
            </a:lvl1pPr>
            <a:lvl2pPr marL="6351" indent="0" algn="ctr">
              <a:lnSpc>
                <a:spcPct val="100000"/>
              </a:lnSpc>
              <a:buNone/>
              <a:tabLst/>
              <a:defRPr sz="1800" spc="30" baseline="0">
                <a:solidFill>
                  <a:schemeClr val="accent1"/>
                </a:solidFill>
              </a:defRPr>
            </a:lvl2pPr>
            <a:lvl3pPr marL="6351" indent="0" algn="ctr">
              <a:lnSpc>
                <a:spcPct val="100000"/>
              </a:lnSpc>
              <a:buNone/>
              <a:tabLst/>
              <a:defRPr sz="1600" spc="30" baseline="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Header Text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Secondary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511763-66B0-0B1B-7848-195694B84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12132"/>
            <a:ext cx="10972800" cy="480131"/>
          </a:xfrm>
        </p:spPr>
        <p:txBody>
          <a:bodyPr wrap="square" lIns="0" rIns="0" anchor="b">
            <a:sp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slide title – to keep one line if possib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9DB83A1-78D3-F130-1F3A-F3039CC844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989732"/>
            <a:ext cx="10972800" cy="369332"/>
          </a:xfrm>
        </p:spPr>
        <p:txBody>
          <a:bodyPr wrap="square" lIns="0" rIns="0">
            <a:spAutoFit/>
          </a:bodyPr>
          <a:lstStyle>
            <a:lvl1pPr marL="0" indent="0" algn="ctr">
              <a:buNone/>
              <a:defRPr sz="20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3D4CF8-5DEC-9D9E-833A-232C754AB59F}"/>
              </a:ext>
            </a:extLst>
          </p:cNvPr>
          <p:cNvCxnSpPr>
            <a:cxnSpLocks/>
          </p:cNvCxnSpPr>
          <p:nvPr userDrawn="1"/>
        </p:nvCxnSpPr>
        <p:spPr>
          <a:xfrm>
            <a:off x="5243078" y="877301"/>
            <a:ext cx="17058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916B36FD-E9C7-0EB7-4644-B045FADB85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9280" y="203195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4ED6FD4A-B9F9-0837-DB72-5C770519EEF2}"/>
              </a:ext>
            </a:extLst>
          </p:cNvPr>
          <p:cNvSpPr/>
          <p:nvPr userDrawn="1"/>
        </p:nvSpPr>
        <p:spPr>
          <a:xfrm>
            <a:off x="832570" y="1817943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3879B161-1AE2-FADA-334A-EFF2705442B2}"/>
              </a:ext>
            </a:extLst>
          </p:cNvPr>
          <p:cNvSpPr/>
          <p:nvPr userDrawn="1"/>
        </p:nvSpPr>
        <p:spPr>
          <a:xfrm>
            <a:off x="832570" y="1817943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7328D67A-6990-6860-7D63-8EBD5F23BAC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50750" y="203195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2ED2785D-F10D-C3F1-CD79-DDF830F565C7}"/>
              </a:ext>
            </a:extLst>
          </p:cNvPr>
          <p:cNvSpPr/>
          <p:nvPr userDrawn="1"/>
        </p:nvSpPr>
        <p:spPr>
          <a:xfrm>
            <a:off x="3634040" y="1817943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D57C4C20-7530-E470-7383-AE41F046A1D7}"/>
              </a:ext>
            </a:extLst>
          </p:cNvPr>
          <p:cNvSpPr/>
          <p:nvPr userDrawn="1"/>
        </p:nvSpPr>
        <p:spPr>
          <a:xfrm>
            <a:off x="3634040" y="1817943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D32EAB26-5370-6E5A-64B1-4E63CC98E0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52220" y="203195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C0AD66CC-EC9B-A4CD-A7B9-42ED1646CB6C}"/>
              </a:ext>
            </a:extLst>
          </p:cNvPr>
          <p:cNvSpPr/>
          <p:nvPr userDrawn="1"/>
        </p:nvSpPr>
        <p:spPr>
          <a:xfrm>
            <a:off x="6435510" y="1817943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Arc 22">
            <a:extLst>
              <a:ext uri="{FF2B5EF4-FFF2-40B4-BE49-F238E27FC236}">
                <a16:creationId xmlns:a16="http://schemas.microsoft.com/office/drawing/2014/main" id="{6E724543-4743-391D-133C-C13841B63EA8}"/>
              </a:ext>
            </a:extLst>
          </p:cNvPr>
          <p:cNvSpPr/>
          <p:nvPr userDrawn="1"/>
        </p:nvSpPr>
        <p:spPr>
          <a:xfrm>
            <a:off x="6435510" y="1817943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A422CF18-5A3F-9CEA-0302-225E0F8673C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453691" y="2031953"/>
            <a:ext cx="1717474" cy="17228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25" name="Arc 24">
            <a:extLst>
              <a:ext uri="{FF2B5EF4-FFF2-40B4-BE49-F238E27FC236}">
                <a16:creationId xmlns:a16="http://schemas.microsoft.com/office/drawing/2014/main" id="{77D2335B-E767-A773-6A8A-16A2CC76473A}"/>
              </a:ext>
            </a:extLst>
          </p:cNvPr>
          <p:cNvSpPr/>
          <p:nvPr userDrawn="1"/>
        </p:nvSpPr>
        <p:spPr>
          <a:xfrm>
            <a:off x="9236981" y="1817943"/>
            <a:ext cx="2150895" cy="2150895"/>
          </a:xfrm>
          <a:prstGeom prst="arc">
            <a:avLst>
              <a:gd name="adj1" fmla="val 16115611"/>
              <a:gd name="adj2" fmla="val 20013837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Arc 25">
            <a:extLst>
              <a:ext uri="{FF2B5EF4-FFF2-40B4-BE49-F238E27FC236}">
                <a16:creationId xmlns:a16="http://schemas.microsoft.com/office/drawing/2014/main" id="{4232EF04-DFEA-B19B-2994-47F6D5F805CF}"/>
              </a:ext>
            </a:extLst>
          </p:cNvPr>
          <p:cNvSpPr/>
          <p:nvPr userDrawn="1"/>
        </p:nvSpPr>
        <p:spPr>
          <a:xfrm>
            <a:off x="9236981" y="1817943"/>
            <a:ext cx="2150895" cy="2150895"/>
          </a:xfrm>
          <a:prstGeom prst="arc">
            <a:avLst>
              <a:gd name="adj1" fmla="val 6202789"/>
              <a:gd name="adj2" fmla="val 9803476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DA4AD3B-A48B-FE95-DABE-9280DC42859F}"/>
              </a:ext>
            </a:extLst>
          </p:cNvPr>
          <p:cNvSpPr txBox="1">
            <a:spLocks/>
          </p:cNvSpPr>
          <p:nvPr userDrawn="1"/>
        </p:nvSpPr>
        <p:spPr>
          <a:xfrm>
            <a:off x="11517617" y="6470921"/>
            <a:ext cx="476468" cy="183663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186AE-F4AD-4FA7-9F32-F8C5D3D896FE}" type="slidenum">
              <a:rPr kumimoji="0" lang="en-US" sz="1051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2A8C84DE-812B-4CCA-736C-CACC213548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15" y="6430085"/>
            <a:ext cx="1280160" cy="2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600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63" Type="http://schemas.openxmlformats.org/officeDocument/2006/relationships/slideLayout" Target="../slideLayouts/slideLayout63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28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18" Type="http://schemas.openxmlformats.org/officeDocument/2006/relationships/slideLayout" Target="../slideLayouts/slideLayout118.xml"/><Relationship Id="rId134" Type="http://schemas.openxmlformats.org/officeDocument/2006/relationships/slideLayout" Target="../slideLayouts/slideLayout134.xml"/><Relationship Id="rId139" Type="http://schemas.openxmlformats.org/officeDocument/2006/relationships/slideLayout" Target="../slideLayouts/slideLayout139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slideLayout" Target="../slideLayouts/slideLayout108.xml"/><Relationship Id="rId124" Type="http://schemas.openxmlformats.org/officeDocument/2006/relationships/slideLayout" Target="../slideLayouts/slideLayout124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40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119" Type="http://schemas.openxmlformats.org/officeDocument/2006/relationships/slideLayout" Target="../slideLayouts/slideLayout119.xml"/><Relationship Id="rId44" Type="http://schemas.openxmlformats.org/officeDocument/2006/relationships/slideLayout" Target="../slideLayouts/slideLayout44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35" Type="http://schemas.openxmlformats.org/officeDocument/2006/relationships/slideLayout" Target="../slideLayouts/slideLayout135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120" Type="http://schemas.openxmlformats.org/officeDocument/2006/relationships/slideLayout" Target="../slideLayouts/slideLayout120.xml"/><Relationship Id="rId125" Type="http://schemas.openxmlformats.org/officeDocument/2006/relationships/slideLayout" Target="../slideLayouts/slideLayout125.xml"/><Relationship Id="rId14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15" Type="http://schemas.openxmlformats.org/officeDocument/2006/relationships/slideLayout" Target="../slideLayouts/slideLayout115.xml"/><Relationship Id="rId131" Type="http://schemas.openxmlformats.org/officeDocument/2006/relationships/slideLayout" Target="../slideLayouts/slideLayout131.xml"/><Relationship Id="rId136" Type="http://schemas.openxmlformats.org/officeDocument/2006/relationships/slideLayout" Target="../slideLayouts/slideLayout136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slideLayout" Target="../slideLayouts/slideLayout26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.xml"/><Relationship Id="rId13" Type="http://schemas.openxmlformats.org/officeDocument/2006/relationships/slideLayout" Target="../slideLayouts/slideLayout15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14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147.xml"/><Relationship Id="rId12" Type="http://schemas.openxmlformats.org/officeDocument/2006/relationships/slideLayout" Target="../slideLayouts/slideLayout152.xml"/><Relationship Id="rId17" Type="http://schemas.openxmlformats.org/officeDocument/2006/relationships/tags" Target="../tags/tag2.xml"/><Relationship Id="rId25" Type="http://schemas.openxmlformats.org/officeDocument/2006/relationships/image" Target="../media/image30.png"/><Relationship Id="rId2" Type="http://schemas.openxmlformats.org/officeDocument/2006/relationships/slideLayout" Target="../slideLayouts/slideLayout142.xml"/><Relationship Id="rId16" Type="http://schemas.openxmlformats.org/officeDocument/2006/relationships/tags" Target="../tags/tag1.x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11" Type="http://schemas.openxmlformats.org/officeDocument/2006/relationships/slideLayout" Target="../slideLayouts/slideLayout151.xml"/><Relationship Id="rId24" Type="http://schemas.openxmlformats.org/officeDocument/2006/relationships/image" Target="../media/image29.emf"/><Relationship Id="rId5" Type="http://schemas.openxmlformats.org/officeDocument/2006/relationships/slideLayout" Target="../slideLayouts/slideLayout145.xml"/><Relationship Id="rId15" Type="http://schemas.openxmlformats.org/officeDocument/2006/relationships/theme" Target="../theme/theme2.xml"/><Relationship Id="rId23" Type="http://schemas.openxmlformats.org/officeDocument/2006/relationships/image" Target="../media/image28.svg"/><Relationship Id="rId10" Type="http://schemas.openxmlformats.org/officeDocument/2006/relationships/slideLayout" Target="../slideLayouts/slideLayout150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144.xml"/><Relationship Id="rId9" Type="http://schemas.openxmlformats.org/officeDocument/2006/relationships/slideLayout" Target="../slideLayouts/slideLayout149.xml"/><Relationship Id="rId14" Type="http://schemas.openxmlformats.org/officeDocument/2006/relationships/slideLayout" Target="../slideLayouts/slideLayout154.xml"/><Relationship Id="rId22" Type="http://schemas.openxmlformats.org/officeDocument/2006/relationships/image" Target="../media/image27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.xml"/><Relationship Id="rId13" Type="http://schemas.openxmlformats.org/officeDocument/2006/relationships/tags" Target="../tags/tag25.xml"/><Relationship Id="rId18" Type="http://schemas.openxmlformats.org/officeDocument/2006/relationships/image" Target="../media/image28.svg"/><Relationship Id="rId3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61.xml"/><Relationship Id="rId12" Type="http://schemas.openxmlformats.org/officeDocument/2006/relationships/tags" Target="../tags/tag24.xml"/><Relationship Id="rId17" Type="http://schemas.openxmlformats.org/officeDocument/2006/relationships/image" Target="../media/image27.emf"/><Relationship Id="rId2" Type="http://schemas.openxmlformats.org/officeDocument/2006/relationships/slideLayout" Target="../slideLayouts/slideLayout156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30.png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tags" Target="../tags/tag23.xml"/><Relationship Id="rId5" Type="http://schemas.openxmlformats.org/officeDocument/2006/relationships/slideLayout" Target="../slideLayouts/slideLayout159.xml"/><Relationship Id="rId15" Type="http://schemas.openxmlformats.org/officeDocument/2006/relationships/tags" Target="../tags/tag27.xml"/><Relationship Id="rId10" Type="http://schemas.openxmlformats.org/officeDocument/2006/relationships/theme" Target="../theme/theme3.xml"/><Relationship Id="rId19" Type="http://schemas.openxmlformats.org/officeDocument/2006/relationships/image" Target="../media/image29.emf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Relationship Id="rId14" Type="http://schemas.openxmlformats.org/officeDocument/2006/relationships/tags" Target="../tags/tag26.xml"/></Relationships>
</file>

<file path=ppt/slideMasters/_rels/slideMaster4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280.xml"/><Relationship Id="rId21" Type="http://schemas.openxmlformats.org/officeDocument/2006/relationships/slideLayout" Target="../slideLayouts/slideLayout184.xml"/><Relationship Id="rId42" Type="http://schemas.openxmlformats.org/officeDocument/2006/relationships/slideLayout" Target="../slideLayouts/slideLayout205.xml"/><Relationship Id="rId63" Type="http://schemas.openxmlformats.org/officeDocument/2006/relationships/slideLayout" Target="../slideLayouts/slideLayout226.xml"/><Relationship Id="rId84" Type="http://schemas.openxmlformats.org/officeDocument/2006/relationships/slideLayout" Target="../slideLayouts/slideLayout247.xml"/><Relationship Id="rId138" Type="http://schemas.openxmlformats.org/officeDocument/2006/relationships/slideLayout" Target="../slideLayouts/slideLayout301.xml"/><Relationship Id="rId159" Type="http://schemas.openxmlformats.org/officeDocument/2006/relationships/slideLayout" Target="../slideLayouts/slideLayout322.xml"/><Relationship Id="rId107" Type="http://schemas.openxmlformats.org/officeDocument/2006/relationships/slideLayout" Target="../slideLayouts/slideLayout270.xml"/><Relationship Id="rId11" Type="http://schemas.openxmlformats.org/officeDocument/2006/relationships/slideLayout" Target="../slideLayouts/slideLayout174.xml"/><Relationship Id="rId32" Type="http://schemas.openxmlformats.org/officeDocument/2006/relationships/slideLayout" Target="../slideLayouts/slideLayout195.xml"/><Relationship Id="rId53" Type="http://schemas.openxmlformats.org/officeDocument/2006/relationships/slideLayout" Target="../slideLayouts/slideLayout216.xml"/><Relationship Id="rId74" Type="http://schemas.openxmlformats.org/officeDocument/2006/relationships/slideLayout" Target="../slideLayouts/slideLayout237.xml"/><Relationship Id="rId128" Type="http://schemas.openxmlformats.org/officeDocument/2006/relationships/slideLayout" Target="../slideLayouts/slideLayout291.xml"/><Relationship Id="rId149" Type="http://schemas.openxmlformats.org/officeDocument/2006/relationships/slideLayout" Target="../slideLayouts/slideLayout312.xml"/><Relationship Id="rId5" Type="http://schemas.openxmlformats.org/officeDocument/2006/relationships/slideLayout" Target="../slideLayouts/slideLayout168.xml"/><Relationship Id="rId95" Type="http://schemas.openxmlformats.org/officeDocument/2006/relationships/slideLayout" Target="../slideLayouts/slideLayout258.xml"/><Relationship Id="rId160" Type="http://schemas.openxmlformats.org/officeDocument/2006/relationships/slideLayout" Target="../slideLayouts/slideLayout323.xml"/><Relationship Id="rId22" Type="http://schemas.openxmlformats.org/officeDocument/2006/relationships/slideLayout" Target="../slideLayouts/slideLayout185.xml"/><Relationship Id="rId43" Type="http://schemas.openxmlformats.org/officeDocument/2006/relationships/slideLayout" Target="../slideLayouts/slideLayout206.xml"/><Relationship Id="rId64" Type="http://schemas.openxmlformats.org/officeDocument/2006/relationships/slideLayout" Target="../slideLayouts/slideLayout227.xml"/><Relationship Id="rId118" Type="http://schemas.openxmlformats.org/officeDocument/2006/relationships/slideLayout" Target="../slideLayouts/slideLayout281.xml"/><Relationship Id="rId139" Type="http://schemas.openxmlformats.org/officeDocument/2006/relationships/slideLayout" Target="../slideLayouts/slideLayout302.xml"/><Relationship Id="rId85" Type="http://schemas.openxmlformats.org/officeDocument/2006/relationships/slideLayout" Target="../slideLayouts/slideLayout248.xml"/><Relationship Id="rId150" Type="http://schemas.openxmlformats.org/officeDocument/2006/relationships/slideLayout" Target="../slideLayouts/slideLayout313.xml"/><Relationship Id="rId12" Type="http://schemas.openxmlformats.org/officeDocument/2006/relationships/slideLayout" Target="../slideLayouts/slideLayout175.xml"/><Relationship Id="rId17" Type="http://schemas.openxmlformats.org/officeDocument/2006/relationships/slideLayout" Target="../slideLayouts/slideLayout180.xml"/><Relationship Id="rId33" Type="http://schemas.openxmlformats.org/officeDocument/2006/relationships/slideLayout" Target="../slideLayouts/slideLayout196.xml"/><Relationship Id="rId38" Type="http://schemas.openxmlformats.org/officeDocument/2006/relationships/slideLayout" Target="../slideLayouts/slideLayout201.xml"/><Relationship Id="rId59" Type="http://schemas.openxmlformats.org/officeDocument/2006/relationships/slideLayout" Target="../slideLayouts/slideLayout222.xml"/><Relationship Id="rId103" Type="http://schemas.openxmlformats.org/officeDocument/2006/relationships/slideLayout" Target="../slideLayouts/slideLayout266.xml"/><Relationship Id="rId108" Type="http://schemas.openxmlformats.org/officeDocument/2006/relationships/slideLayout" Target="../slideLayouts/slideLayout271.xml"/><Relationship Id="rId124" Type="http://schemas.openxmlformats.org/officeDocument/2006/relationships/slideLayout" Target="../slideLayouts/slideLayout287.xml"/><Relationship Id="rId129" Type="http://schemas.openxmlformats.org/officeDocument/2006/relationships/slideLayout" Target="../slideLayouts/slideLayout292.xml"/><Relationship Id="rId54" Type="http://schemas.openxmlformats.org/officeDocument/2006/relationships/slideLayout" Target="../slideLayouts/slideLayout217.xml"/><Relationship Id="rId70" Type="http://schemas.openxmlformats.org/officeDocument/2006/relationships/slideLayout" Target="../slideLayouts/slideLayout233.xml"/><Relationship Id="rId75" Type="http://schemas.openxmlformats.org/officeDocument/2006/relationships/slideLayout" Target="../slideLayouts/slideLayout238.xml"/><Relationship Id="rId91" Type="http://schemas.openxmlformats.org/officeDocument/2006/relationships/slideLayout" Target="../slideLayouts/slideLayout254.xml"/><Relationship Id="rId96" Type="http://schemas.openxmlformats.org/officeDocument/2006/relationships/slideLayout" Target="../slideLayouts/slideLayout259.xml"/><Relationship Id="rId140" Type="http://schemas.openxmlformats.org/officeDocument/2006/relationships/slideLayout" Target="../slideLayouts/slideLayout303.xml"/><Relationship Id="rId145" Type="http://schemas.openxmlformats.org/officeDocument/2006/relationships/slideLayout" Target="../slideLayouts/slideLayout308.xml"/><Relationship Id="rId161" Type="http://schemas.openxmlformats.org/officeDocument/2006/relationships/slideLayout" Target="../slideLayouts/slideLayout324.xml"/><Relationship Id="rId166" Type="http://schemas.openxmlformats.org/officeDocument/2006/relationships/theme" Target="../theme/theme4.xml"/><Relationship Id="rId1" Type="http://schemas.openxmlformats.org/officeDocument/2006/relationships/slideLayout" Target="../slideLayouts/slideLayout164.xml"/><Relationship Id="rId6" Type="http://schemas.openxmlformats.org/officeDocument/2006/relationships/slideLayout" Target="../slideLayouts/slideLayout169.xml"/><Relationship Id="rId23" Type="http://schemas.openxmlformats.org/officeDocument/2006/relationships/slideLayout" Target="../slideLayouts/slideLayout186.xml"/><Relationship Id="rId28" Type="http://schemas.openxmlformats.org/officeDocument/2006/relationships/slideLayout" Target="../slideLayouts/slideLayout191.xml"/><Relationship Id="rId49" Type="http://schemas.openxmlformats.org/officeDocument/2006/relationships/slideLayout" Target="../slideLayouts/slideLayout212.xml"/><Relationship Id="rId114" Type="http://schemas.openxmlformats.org/officeDocument/2006/relationships/slideLayout" Target="../slideLayouts/slideLayout277.xml"/><Relationship Id="rId119" Type="http://schemas.openxmlformats.org/officeDocument/2006/relationships/slideLayout" Target="../slideLayouts/slideLayout282.xml"/><Relationship Id="rId44" Type="http://schemas.openxmlformats.org/officeDocument/2006/relationships/slideLayout" Target="../slideLayouts/slideLayout207.xml"/><Relationship Id="rId60" Type="http://schemas.openxmlformats.org/officeDocument/2006/relationships/slideLayout" Target="../slideLayouts/slideLayout223.xml"/><Relationship Id="rId65" Type="http://schemas.openxmlformats.org/officeDocument/2006/relationships/slideLayout" Target="../slideLayouts/slideLayout228.xml"/><Relationship Id="rId81" Type="http://schemas.openxmlformats.org/officeDocument/2006/relationships/slideLayout" Target="../slideLayouts/slideLayout244.xml"/><Relationship Id="rId86" Type="http://schemas.openxmlformats.org/officeDocument/2006/relationships/slideLayout" Target="../slideLayouts/slideLayout249.xml"/><Relationship Id="rId130" Type="http://schemas.openxmlformats.org/officeDocument/2006/relationships/slideLayout" Target="../slideLayouts/slideLayout293.xml"/><Relationship Id="rId135" Type="http://schemas.openxmlformats.org/officeDocument/2006/relationships/slideLayout" Target="../slideLayouts/slideLayout298.xml"/><Relationship Id="rId151" Type="http://schemas.openxmlformats.org/officeDocument/2006/relationships/slideLayout" Target="../slideLayouts/slideLayout314.xml"/><Relationship Id="rId156" Type="http://schemas.openxmlformats.org/officeDocument/2006/relationships/slideLayout" Target="../slideLayouts/slideLayout319.xml"/><Relationship Id="rId13" Type="http://schemas.openxmlformats.org/officeDocument/2006/relationships/slideLayout" Target="../slideLayouts/slideLayout176.xml"/><Relationship Id="rId18" Type="http://schemas.openxmlformats.org/officeDocument/2006/relationships/slideLayout" Target="../slideLayouts/slideLayout181.xml"/><Relationship Id="rId39" Type="http://schemas.openxmlformats.org/officeDocument/2006/relationships/slideLayout" Target="../slideLayouts/slideLayout202.xml"/><Relationship Id="rId109" Type="http://schemas.openxmlformats.org/officeDocument/2006/relationships/slideLayout" Target="../slideLayouts/slideLayout272.xml"/><Relationship Id="rId34" Type="http://schemas.openxmlformats.org/officeDocument/2006/relationships/slideLayout" Target="../slideLayouts/slideLayout197.xml"/><Relationship Id="rId50" Type="http://schemas.openxmlformats.org/officeDocument/2006/relationships/slideLayout" Target="../slideLayouts/slideLayout213.xml"/><Relationship Id="rId55" Type="http://schemas.openxmlformats.org/officeDocument/2006/relationships/slideLayout" Target="../slideLayouts/slideLayout218.xml"/><Relationship Id="rId76" Type="http://schemas.openxmlformats.org/officeDocument/2006/relationships/slideLayout" Target="../slideLayouts/slideLayout239.xml"/><Relationship Id="rId97" Type="http://schemas.openxmlformats.org/officeDocument/2006/relationships/slideLayout" Target="../slideLayouts/slideLayout260.xml"/><Relationship Id="rId104" Type="http://schemas.openxmlformats.org/officeDocument/2006/relationships/slideLayout" Target="../slideLayouts/slideLayout267.xml"/><Relationship Id="rId120" Type="http://schemas.openxmlformats.org/officeDocument/2006/relationships/slideLayout" Target="../slideLayouts/slideLayout283.xml"/><Relationship Id="rId125" Type="http://schemas.openxmlformats.org/officeDocument/2006/relationships/slideLayout" Target="../slideLayouts/slideLayout288.xml"/><Relationship Id="rId141" Type="http://schemas.openxmlformats.org/officeDocument/2006/relationships/slideLayout" Target="../slideLayouts/slideLayout304.xml"/><Relationship Id="rId146" Type="http://schemas.openxmlformats.org/officeDocument/2006/relationships/slideLayout" Target="../slideLayouts/slideLayout309.xml"/><Relationship Id="rId7" Type="http://schemas.openxmlformats.org/officeDocument/2006/relationships/slideLayout" Target="../slideLayouts/slideLayout170.xml"/><Relationship Id="rId71" Type="http://schemas.openxmlformats.org/officeDocument/2006/relationships/slideLayout" Target="../slideLayouts/slideLayout234.xml"/><Relationship Id="rId92" Type="http://schemas.openxmlformats.org/officeDocument/2006/relationships/slideLayout" Target="../slideLayouts/slideLayout255.xml"/><Relationship Id="rId162" Type="http://schemas.openxmlformats.org/officeDocument/2006/relationships/slideLayout" Target="../slideLayouts/slideLayout325.xml"/><Relationship Id="rId2" Type="http://schemas.openxmlformats.org/officeDocument/2006/relationships/slideLayout" Target="../slideLayouts/slideLayout165.xml"/><Relationship Id="rId29" Type="http://schemas.openxmlformats.org/officeDocument/2006/relationships/slideLayout" Target="../slideLayouts/slideLayout192.xml"/><Relationship Id="rId24" Type="http://schemas.openxmlformats.org/officeDocument/2006/relationships/slideLayout" Target="../slideLayouts/slideLayout187.xml"/><Relationship Id="rId40" Type="http://schemas.openxmlformats.org/officeDocument/2006/relationships/slideLayout" Target="../slideLayouts/slideLayout203.xml"/><Relationship Id="rId45" Type="http://schemas.openxmlformats.org/officeDocument/2006/relationships/slideLayout" Target="../slideLayouts/slideLayout208.xml"/><Relationship Id="rId66" Type="http://schemas.openxmlformats.org/officeDocument/2006/relationships/slideLayout" Target="../slideLayouts/slideLayout229.xml"/><Relationship Id="rId87" Type="http://schemas.openxmlformats.org/officeDocument/2006/relationships/slideLayout" Target="../slideLayouts/slideLayout250.xml"/><Relationship Id="rId110" Type="http://schemas.openxmlformats.org/officeDocument/2006/relationships/slideLayout" Target="../slideLayouts/slideLayout273.xml"/><Relationship Id="rId115" Type="http://schemas.openxmlformats.org/officeDocument/2006/relationships/slideLayout" Target="../slideLayouts/slideLayout278.xml"/><Relationship Id="rId131" Type="http://schemas.openxmlformats.org/officeDocument/2006/relationships/slideLayout" Target="../slideLayouts/slideLayout294.xml"/><Relationship Id="rId136" Type="http://schemas.openxmlformats.org/officeDocument/2006/relationships/slideLayout" Target="../slideLayouts/slideLayout299.xml"/><Relationship Id="rId157" Type="http://schemas.openxmlformats.org/officeDocument/2006/relationships/slideLayout" Target="../slideLayouts/slideLayout320.xml"/><Relationship Id="rId61" Type="http://schemas.openxmlformats.org/officeDocument/2006/relationships/slideLayout" Target="../slideLayouts/slideLayout224.xml"/><Relationship Id="rId82" Type="http://schemas.openxmlformats.org/officeDocument/2006/relationships/slideLayout" Target="../slideLayouts/slideLayout245.xml"/><Relationship Id="rId152" Type="http://schemas.openxmlformats.org/officeDocument/2006/relationships/slideLayout" Target="../slideLayouts/slideLayout315.xml"/><Relationship Id="rId19" Type="http://schemas.openxmlformats.org/officeDocument/2006/relationships/slideLayout" Target="../slideLayouts/slideLayout182.xml"/><Relationship Id="rId14" Type="http://schemas.openxmlformats.org/officeDocument/2006/relationships/slideLayout" Target="../slideLayouts/slideLayout177.xml"/><Relationship Id="rId30" Type="http://schemas.openxmlformats.org/officeDocument/2006/relationships/slideLayout" Target="../slideLayouts/slideLayout193.xml"/><Relationship Id="rId35" Type="http://schemas.openxmlformats.org/officeDocument/2006/relationships/slideLayout" Target="../slideLayouts/slideLayout198.xml"/><Relationship Id="rId56" Type="http://schemas.openxmlformats.org/officeDocument/2006/relationships/slideLayout" Target="../slideLayouts/slideLayout219.xml"/><Relationship Id="rId77" Type="http://schemas.openxmlformats.org/officeDocument/2006/relationships/slideLayout" Target="../slideLayouts/slideLayout240.xml"/><Relationship Id="rId100" Type="http://schemas.openxmlformats.org/officeDocument/2006/relationships/slideLayout" Target="../slideLayouts/slideLayout263.xml"/><Relationship Id="rId105" Type="http://schemas.openxmlformats.org/officeDocument/2006/relationships/slideLayout" Target="../slideLayouts/slideLayout268.xml"/><Relationship Id="rId126" Type="http://schemas.openxmlformats.org/officeDocument/2006/relationships/slideLayout" Target="../slideLayouts/slideLayout289.xml"/><Relationship Id="rId147" Type="http://schemas.openxmlformats.org/officeDocument/2006/relationships/slideLayout" Target="../slideLayouts/slideLayout310.xml"/><Relationship Id="rId8" Type="http://schemas.openxmlformats.org/officeDocument/2006/relationships/slideLayout" Target="../slideLayouts/slideLayout171.xml"/><Relationship Id="rId51" Type="http://schemas.openxmlformats.org/officeDocument/2006/relationships/slideLayout" Target="../slideLayouts/slideLayout214.xml"/><Relationship Id="rId72" Type="http://schemas.openxmlformats.org/officeDocument/2006/relationships/slideLayout" Target="../slideLayouts/slideLayout235.xml"/><Relationship Id="rId93" Type="http://schemas.openxmlformats.org/officeDocument/2006/relationships/slideLayout" Target="../slideLayouts/slideLayout256.xml"/><Relationship Id="rId98" Type="http://schemas.openxmlformats.org/officeDocument/2006/relationships/slideLayout" Target="../slideLayouts/slideLayout261.xml"/><Relationship Id="rId121" Type="http://schemas.openxmlformats.org/officeDocument/2006/relationships/slideLayout" Target="../slideLayouts/slideLayout284.xml"/><Relationship Id="rId142" Type="http://schemas.openxmlformats.org/officeDocument/2006/relationships/slideLayout" Target="../slideLayouts/slideLayout305.xml"/><Relationship Id="rId163" Type="http://schemas.openxmlformats.org/officeDocument/2006/relationships/slideLayout" Target="../slideLayouts/slideLayout326.xml"/><Relationship Id="rId3" Type="http://schemas.openxmlformats.org/officeDocument/2006/relationships/slideLayout" Target="../slideLayouts/slideLayout166.xml"/><Relationship Id="rId25" Type="http://schemas.openxmlformats.org/officeDocument/2006/relationships/slideLayout" Target="../slideLayouts/slideLayout188.xml"/><Relationship Id="rId46" Type="http://schemas.openxmlformats.org/officeDocument/2006/relationships/slideLayout" Target="../slideLayouts/slideLayout209.xml"/><Relationship Id="rId67" Type="http://schemas.openxmlformats.org/officeDocument/2006/relationships/slideLayout" Target="../slideLayouts/slideLayout230.xml"/><Relationship Id="rId116" Type="http://schemas.openxmlformats.org/officeDocument/2006/relationships/slideLayout" Target="../slideLayouts/slideLayout279.xml"/><Relationship Id="rId137" Type="http://schemas.openxmlformats.org/officeDocument/2006/relationships/slideLayout" Target="../slideLayouts/slideLayout300.xml"/><Relationship Id="rId158" Type="http://schemas.openxmlformats.org/officeDocument/2006/relationships/slideLayout" Target="../slideLayouts/slideLayout321.xml"/><Relationship Id="rId20" Type="http://schemas.openxmlformats.org/officeDocument/2006/relationships/slideLayout" Target="../slideLayouts/slideLayout183.xml"/><Relationship Id="rId41" Type="http://schemas.openxmlformats.org/officeDocument/2006/relationships/slideLayout" Target="../slideLayouts/slideLayout204.xml"/><Relationship Id="rId62" Type="http://schemas.openxmlformats.org/officeDocument/2006/relationships/slideLayout" Target="../slideLayouts/slideLayout225.xml"/><Relationship Id="rId83" Type="http://schemas.openxmlformats.org/officeDocument/2006/relationships/slideLayout" Target="../slideLayouts/slideLayout246.xml"/><Relationship Id="rId88" Type="http://schemas.openxmlformats.org/officeDocument/2006/relationships/slideLayout" Target="../slideLayouts/slideLayout251.xml"/><Relationship Id="rId111" Type="http://schemas.openxmlformats.org/officeDocument/2006/relationships/slideLayout" Target="../slideLayouts/slideLayout274.xml"/><Relationship Id="rId132" Type="http://schemas.openxmlformats.org/officeDocument/2006/relationships/slideLayout" Target="../slideLayouts/slideLayout295.xml"/><Relationship Id="rId153" Type="http://schemas.openxmlformats.org/officeDocument/2006/relationships/slideLayout" Target="../slideLayouts/slideLayout316.xml"/><Relationship Id="rId15" Type="http://schemas.openxmlformats.org/officeDocument/2006/relationships/slideLayout" Target="../slideLayouts/slideLayout178.xml"/><Relationship Id="rId36" Type="http://schemas.openxmlformats.org/officeDocument/2006/relationships/slideLayout" Target="../slideLayouts/slideLayout199.xml"/><Relationship Id="rId57" Type="http://schemas.openxmlformats.org/officeDocument/2006/relationships/slideLayout" Target="../slideLayouts/slideLayout220.xml"/><Relationship Id="rId106" Type="http://schemas.openxmlformats.org/officeDocument/2006/relationships/slideLayout" Target="../slideLayouts/slideLayout269.xml"/><Relationship Id="rId127" Type="http://schemas.openxmlformats.org/officeDocument/2006/relationships/slideLayout" Target="../slideLayouts/slideLayout290.xml"/><Relationship Id="rId10" Type="http://schemas.openxmlformats.org/officeDocument/2006/relationships/slideLayout" Target="../slideLayouts/slideLayout173.xml"/><Relationship Id="rId31" Type="http://schemas.openxmlformats.org/officeDocument/2006/relationships/slideLayout" Target="../slideLayouts/slideLayout194.xml"/><Relationship Id="rId52" Type="http://schemas.openxmlformats.org/officeDocument/2006/relationships/slideLayout" Target="../slideLayouts/slideLayout215.xml"/><Relationship Id="rId73" Type="http://schemas.openxmlformats.org/officeDocument/2006/relationships/slideLayout" Target="../slideLayouts/slideLayout236.xml"/><Relationship Id="rId78" Type="http://schemas.openxmlformats.org/officeDocument/2006/relationships/slideLayout" Target="../slideLayouts/slideLayout241.xml"/><Relationship Id="rId94" Type="http://schemas.openxmlformats.org/officeDocument/2006/relationships/slideLayout" Target="../slideLayouts/slideLayout257.xml"/><Relationship Id="rId99" Type="http://schemas.openxmlformats.org/officeDocument/2006/relationships/slideLayout" Target="../slideLayouts/slideLayout262.xml"/><Relationship Id="rId101" Type="http://schemas.openxmlformats.org/officeDocument/2006/relationships/slideLayout" Target="../slideLayouts/slideLayout264.xml"/><Relationship Id="rId122" Type="http://schemas.openxmlformats.org/officeDocument/2006/relationships/slideLayout" Target="../slideLayouts/slideLayout285.xml"/><Relationship Id="rId143" Type="http://schemas.openxmlformats.org/officeDocument/2006/relationships/slideLayout" Target="../slideLayouts/slideLayout306.xml"/><Relationship Id="rId148" Type="http://schemas.openxmlformats.org/officeDocument/2006/relationships/slideLayout" Target="../slideLayouts/slideLayout311.xml"/><Relationship Id="rId164" Type="http://schemas.openxmlformats.org/officeDocument/2006/relationships/slideLayout" Target="../slideLayouts/slideLayout327.xml"/><Relationship Id="rId4" Type="http://schemas.openxmlformats.org/officeDocument/2006/relationships/slideLayout" Target="../slideLayouts/slideLayout167.xml"/><Relationship Id="rId9" Type="http://schemas.openxmlformats.org/officeDocument/2006/relationships/slideLayout" Target="../slideLayouts/slideLayout172.xml"/><Relationship Id="rId26" Type="http://schemas.openxmlformats.org/officeDocument/2006/relationships/slideLayout" Target="../slideLayouts/slideLayout189.xml"/><Relationship Id="rId47" Type="http://schemas.openxmlformats.org/officeDocument/2006/relationships/slideLayout" Target="../slideLayouts/slideLayout210.xml"/><Relationship Id="rId68" Type="http://schemas.openxmlformats.org/officeDocument/2006/relationships/slideLayout" Target="../slideLayouts/slideLayout231.xml"/><Relationship Id="rId89" Type="http://schemas.openxmlformats.org/officeDocument/2006/relationships/slideLayout" Target="../slideLayouts/slideLayout252.xml"/><Relationship Id="rId112" Type="http://schemas.openxmlformats.org/officeDocument/2006/relationships/slideLayout" Target="../slideLayouts/slideLayout275.xml"/><Relationship Id="rId133" Type="http://schemas.openxmlformats.org/officeDocument/2006/relationships/slideLayout" Target="../slideLayouts/slideLayout296.xml"/><Relationship Id="rId154" Type="http://schemas.openxmlformats.org/officeDocument/2006/relationships/slideLayout" Target="../slideLayouts/slideLayout317.xml"/><Relationship Id="rId16" Type="http://schemas.openxmlformats.org/officeDocument/2006/relationships/slideLayout" Target="../slideLayouts/slideLayout179.xml"/><Relationship Id="rId37" Type="http://schemas.openxmlformats.org/officeDocument/2006/relationships/slideLayout" Target="../slideLayouts/slideLayout200.xml"/><Relationship Id="rId58" Type="http://schemas.openxmlformats.org/officeDocument/2006/relationships/slideLayout" Target="../slideLayouts/slideLayout221.xml"/><Relationship Id="rId79" Type="http://schemas.openxmlformats.org/officeDocument/2006/relationships/slideLayout" Target="../slideLayouts/slideLayout242.xml"/><Relationship Id="rId102" Type="http://schemas.openxmlformats.org/officeDocument/2006/relationships/slideLayout" Target="../slideLayouts/slideLayout265.xml"/><Relationship Id="rId123" Type="http://schemas.openxmlformats.org/officeDocument/2006/relationships/slideLayout" Target="../slideLayouts/slideLayout286.xml"/><Relationship Id="rId144" Type="http://schemas.openxmlformats.org/officeDocument/2006/relationships/slideLayout" Target="../slideLayouts/slideLayout307.xml"/><Relationship Id="rId90" Type="http://schemas.openxmlformats.org/officeDocument/2006/relationships/slideLayout" Target="../slideLayouts/slideLayout253.xml"/><Relationship Id="rId165" Type="http://schemas.openxmlformats.org/officeDocument/2006/relationships/slideLayout" Target="../slideLayouts/slideLayout328.xml"/><Relationship Id="rId27" Type="http://schemas.openxmlformats.org/officeDocument/2006/relationships/slideLayout" Target="../slideLayouts/slideLayout190.xml"/><Relationship Id="rId48" Type="http://schemas.openxmlformats.org/officeDocument/2006/relationships/slideLayout" Target="../slideLayouts/slideLayout211.xml"/><Relationship Id="rId69" Type="http://schemas.openxmlformats.org/officeDocument/2006/relationships/slideLayout" Target="../slideLayouts/slideLayout232.xml"/><Relationship Id="rId113" Type="http://schemas.openxmlformats.org/officeDocument/2006/relationships/slideLayout" Target="../slideLayouts/slideLayout276.xml"/><Relationship Id="rId134" Type="http://schemas.openxmlformats.org/officeDocument/2006/relationships/slideLayout" Target="../slideLayouts/slideLayout297.xml"/><Relationship Id="rId80" Type="http://schemas.openxmlformats.org/officeDocument/2006/relationships/slideLayout" Target="../slideLayouts/slideLayout243.xml"/><Relationship Id="rId155" Type="http://schemas.openxmlformats.org/officeDocument/2006/relationships/slideLayout" Target="../slideLayouts/slideLayout31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6.xml"/><Relationship Id="rId13" Type="http://schemas.openxmlformats.org/officeDocument/2006/relationships/slideLayout" Target="../slideLayouts/slideLayout341.xml"/><Relationship Id="rId18" Type="http://schemas.openxmlformats.org/officeDocument/2006/relationships/tags" Target="../tags/tag42.xml"/><Relationship Id="rId3" Type="http://schemas.openxmlformats.org/officeDocument/2006/relationships/slideLayout" Target="../slideLayouts/slideLayout331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335.xml"/><Relationship Id="rId12" Type="http://schemas.openxmlformats.org/officeDocument/2006/relationships/slideLayout" Target="../slideLayouts/slideLayout340.xml"/><Relationship Id="rId17" Type="http://schemas.openxmlformats.org/officeDocument/2006/relationships/tags" Target="../tags/tag41.xml"/><Relationship Id="rId25" Type="http://schemas.openxmlformats.org/officeDocument/2006/relationships/image" Target="../media/image30.png"/><Relationship Id="rId2" Type="http://schemas.openxmlformats.org/officeDocument/2006/relationships/slideLayout" Target="../slideLayouts/slideLayout330.xml"/><Relationship Id="rId16" Type="http://schemas.openxmlformats.org/officeDocument/2006/relationships/tags" Target="../tags/tag40.xml"/><Relationship Id="rId20" Type="http://schemas.openxmlformats.org/officeDocument/2006/relationships/tags" Target="../tags/tag44.xml"/><Relationship Id="rId1" Type="http://schemas.openxmlformats.org/officeDocument/2006/relationships/slideLayout" Target="../slideLayouts/slideLayout329.xml"/><Relationship Id="rId6" Type="http://schemas.openxmlformats.org/officeDocument/2006/relationships/slideLayout" Target="../slideLayouts/slideLayout334.xml"/><Relationship Id="rId11" Type="http://schemas.openxmlformats.org/officeDocument/2006/relationships/slideLayout" Target="../slideLayouts/slideLayout339.xml"/><Relationship Id="rId24" Type="http://schemas.openxmlformats.org/officeDocument/2006/relationships/image" Target="../media/image29.emf"/><Relationship Id="rId5" Type="http://schemas.openxmlformats.org/officeDocument/2006/relationships/slideLayout" Target="../slideLayouts/slideLayout333.xml"/><Relationship Id="rId15" Type="http://schemas.openxmlformats.org/officeDocument/2006/relationships/theme" Target="../theme/theme5.xml"/><Relationship Id="rId23" Type="http://schemas.openxmlformats.org/officeDocument/2006/relationships/image" Target="../media/image28.svg"/><Relationship Id="rId10" Type="http://schemas.openxmlformats.org/officeDocument/2006/relationships/slideLayout" Target="../slideLayouts/slideLayout338.xml"/><Relationship Id="rId19" Type="http://schemas.openxmlformats.org/officeDocument/2006/relationships/tags" Target="../tags/tag43.xml"/><Relationship Id="rId4" Type="http://schemas.openxmlformats.org/officeDocument/2006/relationships/slideLayout" Target="../slideLayouts/slideLayout332.xml"/><Relationship Id="rId9" Type="http://schemas.openxmlformats.org/officeDocument/2006/relationships/slideLayout" Target="../slideLayouts/slideLayout337.xml"/><Relationship Id="rId14" Type="http://schemas.openxmlformats.org/officeDocument/2006/relationships/slideLayout" Target="../slideLayouts/slideLayout342.xml"/><Relationship Id="rId22" Type="http://schemas.openxmlformats.org/officeDocument/2006/relationships/image" Target="../media/image27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88EDDB5-A935-B032-851B-138E16B027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5762F7-22BF-A66A-AD4A-396E92511A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82566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  <p:sldLayoutId id="2147483728" r:id="rId68"/>
    <p:sldLayoutId id="2147483729" r:id="rId69"/>
    <p:sldLayoutId id="2147483730" r:id="rId70"/>
    <p:sldLayoutId id="2147483731" r:id="rId71"/>
    <p:sldLayoutId id="2147483732" r:id="rId72"/>
    <p:sldLayoutId id="2147483733" r:id="rId73"/>
    <p:sldLayoutId id="2147483755" r:id="rId74"/>
    <p:sldLayoutId id="2147483761" r:id="rId75"/>
    <p:sldLayoutId id="2147483774" r:id="rId76"/>
    <p:sldLayoutId id="2147483775" r:id="rId77"/>
    <p:sldLayoutId id="2147483776" r:id="rId78"/>
    <p:sldLayoutId id="2147483777" r:id="rId79"/>
    <p:sldLayoutId id="2147483778" r:id="rId80"/>
    <p:sldLayoutId id="2147483780" r:id="rId81"/>
    <p:sldLayoutId id="2147483782" r:id="rId82"/>
    <p:sldLayoutId id="2147483783" r:id="rId83"/>
    <p:sldLayoutId id="2147483784" r:id="rId84"/>
    <p:sldLayoutId id="2147483785" r:id="rId85"/>
    <p:sldLayoutId id="2147483786" r:id="rId86"/>
    <p:sldLayoutId id="2147483787" r:id="rId87"/>
    <p:sldLayoutId id="2147483788" r:id="rId88"/>
    <p:sldLayoutId id="2147483789" r:id="rId89"/>
    <p:sldLayoutId id="2147483790" r:id="rId90"/>
    <p:sldLayoutId id="2147483791" r:id="rId91"/>
    <p:sldLayoutId id="2147483792" r:id="rId92"/>
    <p:sldLayoutId id="2147483793" r:id="rId93"/>
    <p:sldLayoutId id="2147483794" r:id="rId94"/>
    <p:sldLayoutId id="2147483795" r:id="rId95"/>
    <p:sldLayoutId id="2147483796" r:id="rId96"/>
    <p:sldLayoutId id="2147483797" r:id="rId97"/>
    <p:sldLayoutId id="2147483798" r:id="rId98"/>
    <p:sldLayoutId id="2147483799" r:id="rId99"/>
    <p:sldLayoutId id="2147483800" r:id="rId100"/>
    <p:sldLayoutId id="2147483801" r:id="rId101"/>
    <p:sldLayoutId id="2147483802" r:id="rId102"/>
    <p:sldLayoutId id="2147483803" r:id="rId103"/>
    <p:sldLayoutId id="2147483804" r:id="rId104"/>
    <p:sldLayoutId id="2147484069" r:id="rId105"/>
    <p:sldLayoutId id="2147483805" r:id="rId106"/>
    <p:sldLayoutId id="2147483806" r:id="rId107"/>
    <p:sldLayoutId id="2147483808" r:id="rId108"/>
    <p:sldLayoutId id="2147483809" r:id="rId109"/>
    <p:sldLayoutId id="2147483812" r:id="rId110"/>
    <p:sldLayoutId id="2147483813" r:id="rId111"/>
    <p:sldLayoutId id="2147483814" r:id="rId112"/>
    <p:sldLayoutId id="2147483815" r:id="rId113"/>
    <p:sldLayoutId id="2147483816" r:id="rId114"/>
    <p:sldLayoutId id="2147483817" r:id="rId115"/>
    <p:sldLayoutId id="2147483818" r:id="rId116"/>
    <p:sldLayoutId id="2147483819" r:id="rId117"/>
    <p:sldLayoutId id="2147483820" r:id="rId118"/>
    <p:sldLayoutId id="2147483821" r:id="rId119"/>
    <p:sldLayoutId id="2147483822" r:id="rId120"/>
    <p:sldLayoutId id="2147483824" r:id="rId121"/>
    <p:sldLayoutId id="2147483825" r:id="rId122"/>
    <p:sldLayoutId id="2147483826" r:id="rId123"/>
    <p:sldLayoutId id="2147483827" r:id="rId124"/>
    <p:sldLayoutId id="2147483828" r:id="rId125"/>
    <p:sldLayoutId id="2147483829" r:id="rId126"/>
    <p:sldLayoutId id="2147483830" r:id="rId127"/>
    <p:sldLayoutId id="2147483831" r:id="rId128"/>
    <p:sldLayoutId id="2147483832" r:id="rId129"/>
    <p:sldLayoutId id="2147483833" r:id="rId130"/>
    <p:sldLayoutId id="2147483834" r:id="rId131"/>
    <p:sldLayoutId id="2147483838" r:id="rId132"/>
    <p:sldLayoutId id="2147483839" r:id="rId133"/>
    <p:sldLayoutId id="2147483840" r:id="rId134"/>
    <p:sldLayoutId id="2147483842" r:id="rId135"/>
    <p:sldLayoutId id="2147483843" r:id="rId136"/>
    <p:sldLayoutId id="2147484073" r:id="rId137"/>
    <p:sldLayoutId id="2147484170" r:id="rId138"/>
    <p:sldLayoutId id="2147484171" r:id="rId139"/>
    <p:sldLayoutId id="2147484172" r:id="rId14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5" name="Group 144">
            <a:extLst>
              <a:ext uri="{FF2B5EF4-FFF2-40B4-BE49-F238E27FC236}">
                <a16:creationId xmlns:a16="http://schemas.microsoft.com/office/drawing/2014/main" id="{B019F6A2-9905-36FD-010A-05886791271D}"/>
              </a:ext>
            </a:extLst>
          </p:cNvPr>
          <p:cNvGrpSpPr/>
          <p:nvPr userDrawn="1"/>
        </p:nvGrpSpPr>
        <p:grpSpPr>
          <a:xfrm>
            <a:off x="-8318" y="1426088"/>
            <a:ext cx="4070045" cy="4819763"/>
            <a:chOff x="-8318" y="1426088"/>
            <a:chExt cx="4070045" cy="4819763"/>
          </a:xfrm>
          <a:solidFill>
            <a:schemeClr val="accent2">
              <a:alpha val="2000"/>
            </a:schemeClr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8F244094-77CF-BEE3-FAB8-B302AEAE6ADC}"/>
                </a:ext>
              </a:extLst>
            </p:cNvPr>
            <p:cNvSpPr/>
            <p:nvPr/>
          </p:nvSpPr>
          <p:spPr>
            <a:xfrm>
              <a:off x="-8318" y="1426088"/>
              <a:ext cx="3959116" cy="1664181"/>
            </a:xfrm>
            <a:custGeom>
              <a:avLst/>
              <a:gdLst>
                <a:gd name="connsiteX0" fmla="*/ 1666376 w 3959116"/>
                <a:gd name="connsiteY0" fmla="*/ 104 h 1664181"/>
                <a:gd name="connsiteX1" fmla="*/ 3959116 w 3959116"/>
                <a:gd name="connsiteY1" fmla="*/ 1651859 h 1664181"/>
                <a:gd name="connsiteX2" fmla="*/ 3959116 w 3959116"/>
                <a:gd name="connsiteY2" fmla="*/ 1664181 h 1664181"/>
                <a:gd name="connsiteX3" fmla="*/ 3798866 w 3959116"/>
                <a:gd name="connsiteY3" fmla="*/ 1664181 h 1664181"/>
                <a:gd name="connsiteX4" fmla="*/ 3798866 w 3959116"/>
                <a:gd name="connsiteY4" fmla="*/ 1651859 h 1664181"/>
                <a:gd name="connsiteX5" fmla="*/ 1654055 w 3959116"/>
                <a:gd name="connsiteY5" fmla="*/ 135693 h 1664181"/>
                <a:gd name="connsiteX6" fmla="*/ 53152 w 3959116"/>
                <a:gd name="connsiteY6" fmla="*/ 798243 h 1664181"/>
                <a:gd name="connsiteX7" fmla="*/ 0 w 3959116"/>
                <a:gd name="connsiteY7" fmla="*/ 856498 h 1664181"/>
                <a:gd name="connsiteX8" fmla="*/ 0 w 3959116"/>
                <a:gd name="connsiteY8" fmla="*/ 651533 h 1664181"/>
                <a:gd name="connsiteX9" fmla="*/ 120724 w 3959116"/>
                <a:gd name="connsiteY9" fmla="*/ 542652 h 1664181"/>
                <a:gd name="connsiteX10" fmla="*/ 1666376 w 3959116"/>
                <a:gd name="connsiteY10" fmla="*/ 104 h 1664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59116" h="1664181">
                  <a:moveTo>
                    <a:pt x="1666376" y="104"/>
                  </a:moveTo>
                  <a:cubicBezTo>
                    <a:pt x="2701808" y="104"/>
                    <a:pt x="3626294" y="665731"/>
                    <a:pt x="3959116" y="1651859"/>
                  </a:cubicBezTo>
                  <a:lnTo>
                    <a:pt x="3959116" y="1664181"/>
                  </a:lnTo>
                  <a:lnTo>
                    <a:pt x="3798866" y="1664181"/>
                  </a:lnTo>
                  <a:lnTo>
                    <a:pt x="3798866" y="1651859"/>
                  </a:lnTo>
                  <a:cubicBezTo>
                    <a:pt x="3478382" y="739696"/>
                    <a:pt x="2615522" y="135693"/>
                    <a:pt x="1654055" y="135693"/>
                  </a:cubicBezTo>
                  <a:cubicBezTo>
                    <a:pt x="1031571" y="135693"/>
                    <a:pt x="464551" y="388386"/>
                    <a:pt x="53152" y="798243"/>
                  </a:cubicBezTo>
                  <a:lnTo>
                    <a:pt x="0" y="856498"/>
                  </a:lnTo>
                  <a:lnTo>
                    <a:pt x="0" y="651533"/>
                  </a:lnTo>
                  <a:lnTo>
                    <a:pt x="120724" y="542652"/>
                  </a:lnTo>
                  <a:cubicBezTo>
                    <a:pt x="540291" y="199303"/>
                    <a:pt x="1078562" y="-5287"/>
                    <a:pt x="1666376" y="104"/>
                  </a:cubicBezTo>
                  <a:close/>
                </a:path>
              </a:pathLst>
            </a:custGeom>
            <a:grpFill/>
            <a:ln w="69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584E930D-601C-6F5E-8BBE-E1A08254A3F0}"/>
                </a:ext>
              </a:extLst>
            </p:cNvPr>
            <p:cNvSpPr/>
            <p:nvPr/>
          </p:nvSpPr>
          <p:spPr>
            <a:xfrm>
              <a:off x="-8318" y="3534020"/>
              <a:ext cx="4070045" cy="2711831"/>
            </a:xfrm>
            <a:custGeom>
              <a:avLst/>
              <a:gdLst>
                <a:gd name="connsiteX0" fmla="*/ 1678715 w 4070045"/>
                <a:gd name="connsiteY0" fmla="*/ 0 h 2711831"/>
                <a:gd name="connsiteX1" fmla="*/ 4057724 w 4070045"/>
                <a:gd name="connsiteY1" fmla="*/ 12322 h 2711831"/>
                <a:gd name="connsiteX2" fmla="*/ 4070045 w 4070045"/>
                <a:gd name="connsiteY2" fmla="*/ 295841 h 2711831"/>
                <a:gd name="connsiteX3" fmla="*/ 1654055 w 4070045"/>
                <a:gd name="connsiteY3" fmla="*/ 2711831 h 2711831"/>
                <a:gd name="connsiteX4" fmla="*/ 118531 w 4070045"/>
                <a:gd name="connsiteY4" fmla="*/ 2159148 h 2711831"/>
                <a:gd name="connsiteX5" fmla="*/ 0 w 4070045"/>
                <a:gd name="connsiteY5" fmla="*/ 2051387 h 2711831"/>
                <a:gd name="connsiteX6" fmla="*/ 0 w 4070045"/>
                <a:gd name="connsiteY6" fmla="*/ 1843116 h 2711831"/>
                <a:gd name="connsiteX7" fmla="*/ 53152 w 4070045"/>
                <a:gd name="connsiteY7" fmla="*/ 1901371 h 2711831"/>
                <a:gd name="connsiteX8" fmla="*/ 1654055 w 4070045"/>
                <a:gd name="connsiteY8" fmla="*/ 2563920 h 2711831"/>
                <a:gd name="connsiteX9" fmla="*/ 3922134 w 4070045"/>
                <a:gd name="connsiteY9" fmla="*/ 295841 h 2711831"/>
                <a:gd name="connsiteX10" fmla="*/ 3922134 w 4070045"/>
                <a:gd name="connsiteY10" fmla="*/ 147912 h 2711831"/>
                <a:gd name="connsiteX11" fmla="*/ 1678715 w 4070045"/>
                <a:gd name="connsiteY11" fmla="*/ 147912 h 2711831"/>
                <a:gd name="connsiteX12" fmla="*/ 1678715 w 4070045"/>
                <a:gd name="connsiteY12" fmla="*/ 0 h 2711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070045" h="2711831">
                  <a:moveTo>
                    <a:pt x="1678715" y="0"/>
                  </a:moveTo>
                  <a:lnTo>
                    <a:pt x="4057724" y="12322"/>
                  </a:lnTo>
                  <a:cubicBezTo>
                    <a:pt x="4070045" y="110947"/>
                    <a:pt x="4070045" y="197233"/>
                    <a:pt x="4070045" y="295841"/>
                  </a:cubicBezTo>
                  <a:cubicBezTo>
                    <a:pt x="4070045" y="1627095"/>
                    <a:pt x="2985327" y="2711831"/>
                    <a:pt x="1654055" y="2711831"/>
                  </a:cubicBezTo>
                  <a:cubicBezTo>
                    <a:pt x="1071631" y="2711831"/>
                    <a:pt x="536392" y="2504206"/>
                    <a:pt x="118531" y="2159148"/>
                  </a:cubicBezTo>
                  <a:lnTo>
                    <a:pt x="0" y="2051387"/>
                  </a:lnTo>
                  <a:lnTo>
                    <a:pt x="0" y="1843116"/>
                  </a:lnTo>
                  <a:lnTo>
                    <a:pt x="53152" y="1901371"/>
                  </a:lnTo>
                  <a:cubicBezTo>
                    <a:pt x="464551" y="2311227"/>
                    <a:pt x="1031571" y="2563920"/>
                    <a:pt x="1654055" y="2563920"/>
                  </a:cubicBezTo>
                  <a:cubicBezTo>
                    <a:pt x="2899041" y="2563920"/>
                    <a:pt x="3922134" y="1553149"/>
                    <a:pt x="3922134" y="295841"/>
                  </a:cubicBezTo>
                  <a:cubicBezTo>
                    <a:pt x="3922134" y="246537"/>
                    <a:pt x="3922134" y="197233"/>
                    <a:pt x="3922134" y="147912"/>
                  </a:cubicBezTo>
                  <a:lnTo>
                    <a:pt x="1678715" y="147912"/>
                  </a:lnTo>
                  <a:lnTo>
                    <a:pt x="1678715" y="0"/>
                  </a:lnTo>
                  <a:close/>
                </a:path>
              </a:pathLst>
            </a:custGeom>
            <a:grpFill/>
            <a:ln w="69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4CD42581-CC8E-8F3D-7C61-84880FDD7973}"/>
                </a:ext>
              </a:extLst>
            </p:cNvPr>
            <p:cNvSpPr/>
            <p:nvPr/>
          </p:nvSpPr>
          <p:spPr>
            <a:xfrm>
              <a:off x="67945" y="2227408"/>
              <a:ext cx="3106261" cy="3155582"/>
            </a:xfrm>
            <a:custGeom>
              <a:avLst/>
              <a:gdLst>
                <a:gd name="connsiteX0" fmla="*/ 88868 w 174958"/>
                <a:gd name="connsiteY0" fmla="*/ 9026 h 177736"/>
                <a:gd name="connsiteX1" fmla="*/ 157602 w 174958"/>
                <a:gd name="connsiteY1" fmla="*/ 47211 h 177736"/>
                <a:gd name="connsiteX2" fmla="*/ 157602 w 174958"/>
                <a:gd name="connsiteY2" fmla="*/ 47211 h 177736"/>
                <a:gd name="connsiteX3" fmla="*/ 167322 w 174958"/>
                <a:gd name="connsiteY3" fmla="*/ 47211 h 177736"/>
                <a:gd name="connsiteX4" fmla="*/ 166628 w 174958"/>
                <a:gd name="connsiteY4" fmla="*/ 45823 h 177736"/>
                <a:gd name="connsiteX5" fmla="*/ 88868 w 174958"/>
                <a:gd name="connsiteY5" fmla="*/ 0 h 177736"/>
                <a:gd name="connsiteX6" fmla="*/ 0 w 174958"/>
                <a:gd name="connsiteY6" fmla="*/ 88868 h 177736"/>
                <a:gd name="connsiteX7" fmla="*/ 88868 w 174958"/>
                <a:gd name="connsiteY7" fmla="*/ 177736 h 177736"/>
                <a:gd name="connsiteX8" fmla="*/ 174959 w 174958"/>
                <a:gd name="connsiteY8" fmla="*/ 112474 h 177736"/>
                <a:gd name="connsiteX9" fmla="*/ 174959 w 174958"/>
                <a:gd name="connsiteY9" fmla="*/ 111779 h 177736"/>
                <a:gd name="connsiteX10" fmla="*/ 90257 w 174958"/>
                <a:gd name="connsiteY10" fmla="*/ 111779 h 177736"/>
                <a:gd name="connsiteX11" fmla="*/ 90257 w 174958"/>
                <a:gd name="connsiteY11" fmla="*/ 121499 h 177736"/>
                <a:gd name="connsiteX12" fmla="*/ 163850 w 174958"/>
                <a:gd name="connsiteY12" fmla="*/ 121499 h 177736"/>
                <a:gd name="connsiteX13" fmla="*/ 89562 w 174958"/>
                <a:gd name="connsiteY13" fmla="*/ 171488 h 177736"/>
                <a:gd name="connsiteX14" fmla="*/ 8331 w 174958"/>
                <a:gd name="connsiteY14" fmla="*/ 90257 h 177736"/>
                <a:gd name="connsiteX15" fmla="*/ 88868 w 174958"/>
                <a:gd name="connsiteY15" fmla="*/ 9026 h 177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4958" h="177736">
                  <a:moveTo>
                    <a:pt x="88868" y="9026"/>
                  </a:moveTo>
                  <a:cubicBezTo>
                    <a:pt x="117334" y="9026"/>
                    <a:pt x="143022" y="23606"/>
                    <a:pt x="157602" y="47211"/>
                  </a:cubicBezTo>
                  <a:lnTo>
                    <a:pt x="157602" y="47211"/>
                  </a:lnTo>
                  <a:lnTo>
                    <a:pt x="167322" y="47211"/>
                  </a:lnTo>
                  <a:lnTo>
                    <a:pt x="166628" y="45823"/>
                  </a:lnTo>
                  <a:cubicBezTo>
                    <a:pt x="150659" y="17357"/>
                    <a:pt x="120805" y="0"/>
                    <a:pt x="88868" y="0"/>
                  </a:cubicBezTo>
                  <a:cubicBezTo>
                    <a:pt x="39574" y="0"/>
                    <a:pt x="0" y="40268"/>
                    <a:pt x="0" y="88868"/>
                  </a:cubicBezTo>
                  <a:cubicBezTo>
                    <a:pt x="0" y="137468"/>
                    <a:pt x="40268" y="177736"/>
                    <a:pt x="88868" y="177736"/>
                  </a:cubicBezTo>
                  <a:cubicBezTo>
                    <a:pt x="129136" y="177736"/>
                    <a:pt x="163850" y="150659"/>
                    <a:pt x="174959" y="112474"/>
                  </a:cubicBezTo>
                  <a:lnTo>
                    <a:pt x="174959" y="111779"/>
                  </a:lnTo>
                  <a:lnTo>
                    <a:pt x="90257" y="111779"/>
                  </a:lnTo>
                  <a:lnTo>
                    <a:pt x="90257" y="121499"/>
                  </a:lnTo>
                  <a:lnTo>
                    <a:pt x="163850" y="121499"/>
                  </a:lnTo>
                  <a:cubicBezTo>
                    <a:pt x="151353" y="152048"/>
                    <a:pt x="122194" y="171488"/>
                    <a:pt x="89562" y="171488"/>
                  </a:cubicBezTo>
                  <a:cubicBezTo>
                    <a:pt x="44434" y="171488"/>
                    <a:pt x="8331" y="134691"/>
                    <a:pt x="8331" y="90257"/>
                  </a:cubicBezTo>
                  <a:cubicBezTo>
                    <a:pt x="8331" y="45823"/>
                    <a:pt x="44434" y="9026"/>
                    <a:pt x="88868" y="9026"/>
                  </a:cubicBezTo>
                  <a:close/>
                </a:path>
              </a:pathLst>
            </a:custGeom>
            <a:grpFill/>
            <a:ln w="69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8635FBE0-0015-33FC-7E19-7073817EB680}"/>
                </a:ext>
              </a:extLst>
            </p:cNvPr>
            <p:cNvSpPr/>
            <p:nvPr userDrawn="1"/>
          </p:nvSpPr>
          <p:spPr>
            <a:xfrm>
              <a:off x="-8318" y="1820638"/>
              <a:ext cx="3515346" cy="1257308"/>
            </a:xfrm>
            <a:custGeom>
              <a:avLst/>
              <a:gdLst>
                <a:gd name="connsiteX0" fmla="*/ 1654054 w 3515346"/>
                <a:gd name="connsiteY0" fmla="*/ 0 h 1257308"/>
                <a:gd name="connsiteX1" fmla="*/ 3503025 w 3515346"/>
                <a:gd name="connsiteY1" fmla="*/ 1244969 h 1257308"/>
                <a:gd name="connsiteX2" fmla="*/ 3515346 w 3515346"/>
                <a:gd name="connsiteY2" fmla="*/ 1257308 h 1257308"/>
                <a:gd name="connsiteX3" fmla="*/ 3355114 w 3515346"/>
                <a:gd name="connsiteY3" fmla="*/ 1257308 h 1257308"/>
                <a:gd name="connsiteX4" fmla="*/ 1666376 w 3515346"/>
                <a:gd name="connsiteY4" fmla="*/ 147911 h 1257308"/>
                <a:gd name="connsiteX5" fmla="*/ 30713 w 3515346"/>
                <a:gd name="connsiteY5" fmla="*/ 1124173 h 1257308"/>
                <a:gd name="connsiteX6" fmla="*/ 0 w 3515346"/>
                <a:gd name="connsiteY6" fmla="*/ 1187649 h 1257308"/>
                <a:gd name="connsiteX7" fmla="*/ 0 w 3515346"/>
                <a:gd name="connsiteY7" fmla="*/ 869995 h 1257308"/>
                <a:gd name="connsiteX8" fmla="*/ 103733 w 3515346"/>
                <a:gd name="connsiteY8" fmla="*/ 731288 h 1257308"/>
                <a:gd name="connsiteX9" fmla="*/ 1654054 w 3515346"/>
                <a:gd name="connsiteY9" fmla="*/ 0 h 1257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15346" h="1257308">
                  <a:moveTo>
                    <a:pt x="1654054" y="0"/>
                  </a:moveTo>
                  <a:cubicBezTo>
                    <a:pt x="2467593" y="0"/>
                    <a:pt x="3194863" y="493055"/>
                    <a:pt x="3503025" y="1244969"/>
                  </a:cubicBezTo>
                  <a:lnTo>
                    <a:pt x="3515346" y="1257308"/>
                  </a:lnTo>
                  <a:lnTo>
                    <a:pt x="3355114" y="1257308"/>
                  </a:lnTo>
                  <a:cubicBezTo>
                    <a:pt x="3059273" y="579342"/>
                    <a:pt x="2393646" y="147911"/>
                    <a:pt x="1666376" y="147911"/>
                  </a:cubicBezTo>
                  <a:cubicBezTo>
                    <a:pt x="963000" y="147911"/>
                    <a:pt x="347014" y="544100"/>
                    <a:pt x="30713" y="1124173"/>
                  </a:cubicBezTo>
                  <a:lnTo>
                    <a:pt x="0" y="1187649"/>
                  </a:lnTo>
                  <a:lnTo>
                    <a:pt x="0" y="869995"/>
                  </a:lnTo>
                  <a:lnTo>
                    <a:pt x="103733" y="731288"/>
                  </a:lnTo>
                  <a:cubicBezTo>
                    <a:pt x="472301" y="284716"/>
                    <a:pt x="1030028" y="0"/>
                    <a:pt x="165405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marL="228600" indent="-228600" algn="ctr">
                <a:buFont typeface="Arial" pitchFamily="34" charset="0"/>
                <a:buChar char="•"/>
              </a:pPr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9792654-AD02-76EF-1D68-50F56B14E085}"/>
                </a:ext>
              </a:extLst>
            </p:cNvPr>
            <p:cNvSpPr/>
            <p:nvPr userDrawn="1"/>
          </p:nvSpPr>
          <p:spPr>
            <a:xfrm>
              <a:off x="-8318" y="3891485"/>
              <a:ext cx="3650954" cy="1947596"/>
            </a:xfrm>
            <a:custGeom>
              <a:avLst/>
              <a:gdLst>
                <a:gd name="connsiteX0" fmla="*/ 1333571 w 3650954"/>
                <a:gd name="connsiteY0" fmla="*/ 0 h 1947596"/>
                <a:gd name="connsiteX1" fmla="*/ 3650954 w 3650954"/>
                <a:gd name="connsiteY1" fmla="*/ 0 h 1947596"/>
                <a:gd name="connsiteX2" fmla="*/ 3650954 w 3650954"/>
                <a:gd name="connsiteY2" fmla="*/ 12339 h 1947596"/>
                <a:gd name="connsiteX3" fmla="*/ 3046952 w 3650954"/>
                <a:gd name="connsiteY3" fmla="*/ 1380576 h 1947596"/>
                <a:gd name="connsiteX4" fmla="*/ 1654054 w 3650954"/>
                <a:gd name="connsiteY4" fmla="*/ 1947596 h 1947596"/>
                <a:gd name="connsiteX5" fmla="*/ 103733 w 3650954"/>
                <a:gd name="connsiteY5" fmla="*/ 1216308 h 1947596"/>
                <a:gd name="connsiteX6" fmla="*/ 0 w 3650954"/>
                <a:gd name="connsiteY6" fmla="*/ 1077603 h 1947596"/>
                <a:gd name="connsiteX7" fmla="*/ 0 w 3650954"/>
                <a:gd name="connsiteY7" fmla="*/ 759947 h 1947596"/>
                <a:gd name="connsiteX8" fmla="*/ 30713 w 3650954"/>
                <a:gd name="connsiteY8" fmla="*/ 823423 h 1947596"/>
                <a:gd name="connsiteX9" fmla="*/ 1666376 w 3650954"/>
                <a:gd name="connsiteY9" fmla="*/ 1799685 h 1947596"/>
                <a:gd name="connsiteX10" fmla="*/ 2911362 w 3650954"/>
                <a:gd name="connsiteY10" fmla="*/ 1318951 h 1947596"/>
                <a:gd name="connsiteX11" fmla="*/ 3503025 w 3650954"/>
                <a:gd name="connsiteY11" fmla="*/ 147929 h 1947596"/>
                <a:gd name="connsiteX12" fmla="*/ 1333571 w 3650954"/>
                <a:gd name="connsiteY12" fmla="*/ 147929 h 1947596"/>
                <a:gd name="connsiteX13" fmla="*/ 1333571 w 3650954"/>
                <a:gd name="connsiteY13" fmla="*/ 0 h 1947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50954" h="1947596">
                  <a:moveTo>
                    <a:pt x="1333571" y="0"/>
                  </a:moveTo>
                  <a:lnTo>
                    <a:pt x="3650954" y="0"/>
                  </a:lnTo>
                  <a:lnTo>
                    <a:pt x="3650954" y="12339"/>
                  </a:lnTo>
                  <a:cubicBezTo>
                    <a:pt x="3638615" y="530055"/>
                    <a:pt x="3416739" y="1010789"/>
                    <a:pt x="3046952" y="1380576"/>
                  </a:cubicBezTo>
                  <a:cubicBezTo>
                    <a:pt x="2677147" y="1750363"/>
                    <a:pt x="2171770" y="1947596"/>
                    <a:pt x="1654054" y="1947596"/>
                  </a:cubicBezTo>
                  <a:cubicBezTo>
                    <a:pt x="1030028" y="1947596"/>
                    <a:pt x="472301" y="1662880"/>
                    <a:pt x="103733" y="1216308"/>
                  </a:cubicBezTo>
                  <a:lnTo>
                    <a:pt x="0" y="1077603"/>
                  </a:lnTo>
                  <a:lnTo>
                    <a:pt x="0" y="759947"/>
                  </a:lnTo>
                  <a:lnTo>
                    <a:pt x="30713" y="823423"/>
                  </a:lnTo>
                  <a:cubicBezTo>
                    <a:pt x="347014" y="1403496"/>
                    <a:pt x="963000" y="1799685"/>
                    <a:pt x="1666376" y="1799685"/>
                  </a:cubicBezTo>
                  <a:cubicBezTo>
                    <a:pt x="2122467" y="1799685"/>
                    <a:pt x="2566218" y="1627113"/>
                    <a:pt x="2911362" y="1318951"/>
                  </a:cubicBezTo>
                  <a:cubicBezTo>
                    <a:pt x="3244167" y="1010789"/>
                    <a:pt x="3453721" y="604002"/>
                    <a:pt x="3503025" y="147929"/>
                  </a:cubicBezTo>
                  <a:lnTo>
                    <a:pt x="1333571" y="147929"/>
                  </a:lnTo>
                  <a:lnTo>
                    <a:pt x="1333571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marL="228600" indent="-228600" algn="ctr">
                <a:buFont typeface="Arial" pitchFamily="34" charset="0"/>
                <a:buChar char="•"/>
              </a:pPr>
              <a:endParaRPr lang="en-GB" sz="1400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02BA17-BD4D-499A-9F13-D64A4B2CF429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968879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53" imgH="353" progId="TCLayout.ActiveDocument.1">
                  <p:embed/>
                </p:oleObj>
              </mc:Choice>
              <mc:Fallback>
                <p:oleObj name="think-cell Slide" r:id="rId21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02BA17-BD4D-499A-9F13-D64A4B2CF4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>
          <a:xfrm>
            <a:off x="694944" y="301752"/>
            <a:ext cx="10789920" cy="429768"/>
          </a:xfrm>
          <a:prstGeom prst="rect">
            <a:avLst/>
          </a:prstGeom>
        </p:spPr>
        <p:txBody>
          <a:bodyPr vert="horz" lIns="0" tIns="0" rIns="0" bIns="45720" rtlCol="0" anchor="b" anchorCtr="0">
            <a:noAutofit/>
          </a:bodyPr>
          <a:lstStyle/>
          <a:p>
            <a:r>
              <a:rPr lang="en-US"/>
              <a:t>Click To Edit Master Title Style 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694944" y="1435608"/>
            <a:ext cx="10789920" cy="473659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692908" y="-381000"/>
            <a:ext cx="10800080" cy="254794"/>
            <a:chOff x="519681" y="1435608"/>
            <a:chExt cx="8100060" cy="254794"/>
          </a:xfrm>
        </p:grpSpPr>
        <p:cxnSp>
          <p:nvCxnSpPr>
            <p:cNvPr id="36" name="Straight Connector 35"/>
            <p:cNvCxnSpPr/>
            <p:nvPr userDrawn="1"/>
          </p:nvCxnSpPr>
          <p:spPr>
            <a:xfrm>
              <a:off x="3087621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3282694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853681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6048754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8619741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519681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oup 47"/>
          <p:cNvGrpSpPr/>
          <p:nvPr/>
        </p:nvGrpSpPr>
        <p:grpSpPr>
          <a:xfrm>
            <a:off x="12423944" y="731521"/>
            <a:ext cx="336000" cy="5621655"/>
            <a:chOff x="269208" y="731520"/>
            <a:chExt cx="252000" cy="5621655"/>
          </a:xfrm>
        </p:grpSpPr>
        <p:cxnSp>
          <p:nvCxnSpPr>
            <p:cNvPr id="49" name="Straight Connector 48"/>
            <p:cNvCxnSpPr/>
            <p:nvPr userDrawn="1"/>
          </p:nvCxnSpPr>
          <p:spPr>
            <a:xfrm>
              <a:off x="269208" y="731520"/>
              <a:ext cx="252000" cy="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 userDrawn="1"/>
          </p:nvCxnSpPr>
          <p:spPr>
            <a:xfrm>
              <a:off x="269208" y="1426083"/>
              <a:ext cx="252000" cy="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 userDrawn="1"/>
          </p:nvCxnSpPr>
          <p:spPr>
            <a:xfrm>
              <a:off x="269208" y="6353175"/>
              <a:ext cx="252000" cy="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>
              <a:off x="269208" y="3721608"/>
              <a:ext cx="252000" cy="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>
              <a:off x="269208" y="3874008"/>
              <a:ext cx="252000" cy="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oup 53"/>
          <p:cNvGrpSpPr/>
          <p:nvPr/>
        </p:nvGrpSpPr>
        <p:grpSpPr>
          <a:xfrm>
            <a:off x="692908" y="6991350"/>
            <a:ext cx="10800080" cy="254794"/>
            <a:chOff x="519681" y="1435608"/>
            <a:chExt cx="8100060" cy="254794"/>
          </a:xfrm>
        </p:grpSpPr>
        <p:cxnSp>
          <p:nvCxnSpPr>
            <p:cNvPr id="55" name="Straight Connector 54"/>
            <p:cNvCxnSpPr/>
            <p:nvPr userDrawn="1"/>
          </p:nvCxnSpPr>
          <p:spPr>
            <a:xfrm>
              <a:off x="3087621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 userDrawn="1"/>
          </p:nvCxnSpPr>
          <p:spPr>
            <a:xfrm>
              <a:off x="3282694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 userDrawn="1"/>
          </p:nvCxnSpPr>
          <p:spPr>
            <a:xfrm>
              <a:off x="5853681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>
            <a:xfrm>
              <a:off x="6048754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 userDrawn="1"/>
          </p:nvCxnSpPr>
          <p:spPr>
            <a:xfrm>
              <a:off x="8619741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 userDrawn="1"/>
          </p:nvCxnSpPr>
          <p:spPr>
            <a:xfrm>
              <a:off x="519681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BCA1602-0E93-4C53-B2FD-430FBBCB6902}"/>
              </a:ext>
            </a:extLst>
          </p:cNvPr>
          <p:cNvCxnSpPr>
            <a:cxnSpLocks/>
          </p:cNvCxnSpPr>
          <p:nvPr/>
        </p:nvCxnSpPr>
        <p:spPr>
          <a:xfrm>
            <a:off x="692908" y="731520"/>
            <a:ext cx="10800080" cy="0"/>
          </a:xfrm>
          <a:prstGeom prst="line">
            <a:avLst/>
          </a:prstGeom>
          <a:ln w="38100">
            <a:solidFill>
              <a:schemeClr val="accent2"/>
            </a:solidFill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E9DDC34-32E4-D9AA-EAAB-426BF9214C15}"/>
              </a:ext>
            </a:extLst>
          </p:cNvPr>
          <p:cNvCxnSpPr>
            <a:cxnSpLocks/>
          </p:cNvCxnSpPr>
          <p:nvPr/>
        </p:nvCxnSpPr>
        <p:spPr>
          <a:xfrm>
            <a:off x="11267246" y="6516669"/>
            <a:ext cx="0" cy="252331"/>
          </a:xfrm>
          <a:prstGeom prst="line">
            <a:avLst/>
          </a:prstGeom>
          <a:ln w="19050">
            <a:solidFill>
              <a:schemeClr val="accent2">
                <a:alpha val="85000"/>
              </a:schemeClr>
            </a:solidFill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684AEACE-03A5-FB5C-F858-17EDDE0E91A7}"/>
              </a:ext>
            </a:extLst>
          </p:cNvPr>
          <p:cNvPicPr>
            <a:picLocks noChangeAspect="1"/>
          </p:cNvPicPr>
          <p:nvPr userDrawn="1">
            <p:custDataLst>
              <p:tags r:id="rId18"/>
            </p:custDataLst>
          </p:nvPr>
        </p:nvPicPr>
        <p:blipFill>
          <a:blip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788801" y="6507449"/>
            <a:ext cx="1319135" cy="27077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0BBE69AD-361D-398F-904A-8E8704800641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1132742" y="6565890"/>
            <a:ext cx="40975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 defTabSz="914164" rtl="0" eaLnBrk="1" latinLnBrk="0" hangingPunct="1">
              <a:buFont typeface="Arial" pitchFamily="34" charset="0"/>
              <a:buNone/>
            </a:pPr>
            <a:fld id="{790FC2AF-B194-488D-8ACC-F2E58C812CDE}" type="slidenum">
              <a:rPr lang="en-US" sz="10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indent="0" algn="r" defTabSz="914164" rtl="0" eaLnBrk="1" latinLnBrk="0" hangingPunct="1">
                <a:buFont typeface="Arial" pitchFamily="34" charset="0"/>
                <a:buNone/>
              </a:pPr>
              <a:t>‹#›</a:t>
            </a:fld>
            <a:endParaRPr lang="en-US" sz="1000" kern="120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5" name="Picture 4" descr="WB_Final_approved.png">
            <a:extLst>
              <a:ext uri="{FF2B5EF4-FFF2-40B4-BE49-F238E27FC236}">
                <a16:creationId xmlns:a16="http://schemas.microsoft.com/office/drawing/2014/main" id="{D29D96B2-BA1C-02FB-5DC3-EBE7BA5EE2F2}"/>
              </a:ext>
            </a:extLst>
          </p:cNvPr>
          <p:cNvPicPr>
            <a:picLocks noChangeAspect="1"/>
          </p:cNvPicPr>
          <p:nvPr userDrawn="1">
            <p:custDataLst>
              <p:tags r:id="rId20"/>
            </p:custDataLst>
          </p:nvPr>
        </p:nvPicPr>
        <p:blipFill>
          <a:blip r:embed="rId24" cstate="print"/>
          <a:stretch>
            <a:fillRect/>
          </a:stretch>
        </p:blipFill>
        <p:spPr>
          <a:xfrm>
            <a:off x="329941" y="6605996"/>
            <a:ext cx="744618" cy="13446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FC31660-9F87-379E-BEA4-2863EED115BE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1110835" y="6620158"/>
            <a:ext cx="493685" cy="106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7859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</p:sldLayoutIdLst>
  <p:hf sldNum="0" hdr="0" dt="0"/>
  <p:txStyles>
    <p:titleStyle>
      <a:lvl1pPr algn="l" defTabSz="914164" rtl="0" eaLnBrk="1" latinLnBrk="0" hangingPunct="1">
        <a:lnSpc>
          <a:spcPct val="100000"/>
        </a:lnSpc>
        <a:spcBef>
          <a:spcPct val="0"/>
        </a:spcBef>
        <a:buNone/>
        <a:defRPr sz="2000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164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Wingdings" panose="05000000000000000000" pitchFamily="2" charset="2"/>
        <a:buChar char="§"/>
        <a:defRPr lang="en-US" sz="1200" kern="1200" baseline="0" dirty="0">
          <a:solidFill>
            <a:schemeClr val="accent2"/>
          </a:solidFill>
          <a:latin typeface="+mn-lt"/>
          <a:ea typeface="ＭＳ Ｐゴシック" pitchFamily="29" charset="-128"/>
          <a:cs typeface="Times New Roman"/>
        </a:defRPr>
      </a:lvl1pPr>
      <a:lvl2pPr marL="342900" indent="-171450" algn="l" defTabSz="914164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‒"/>
        <a:defRPr lang="en-US" sz="1100" kern="1200" baseline="0" dirty="0" smtClean="0">
          <a:solidFill>
            <a:schemeClr val="accent2"/>
          </a:solidFill>
          <a:latin typeface="+mn-lt"/>
          <a:ea typeface="ＭＳ Ｐゴシック" pitchFamily="29" charset="-128"/>
          <a:cs typeface="Times New Roman"/>
        </a:defRPr>
      </a:lvl2pPr>
      <a:lvl3pPr marL="514350" marR="0" indent="-171450" algn="l" defTabSz="457136" rtl="0" eaLnBrk="1" fontAlgn="base" latinLnBrk="0" hangingPunct="1">
        <a:lnSpc>
          <a:spcPct val="100000"/>
        </a:lnSpc>
        <a:spcBef>
          <a:spcPts val="600"/>
        </a:spcBef>
        <a:spcAft>
          <a:spcPct val="0"/>
        </a:spcAft>
        <a:buClr>
          <a:schemeClr val="accent2"/>
        </a:buClr>
        <a:buSzTx/>
        <a:buFont typeface="Arial" panose="020B0604020202020204" pitchFamily="34" charset="0"/>
        <a:buChar char="•"/>
        <a:tabLst/>
        <a:defRPr lang="en-US" sz="1050" kern="1200" baseline="0" dirty="0" smtClean="0">
          <a:solidFill>
            <a:schemeClr val="accent2"/>
          </a:solidFill>
          <a:latin typeface="+mn-lt"/>
          <a:ea typeface="ＭＳ Ｐゴシック" pitchFamily="29" charset="-128"/>
          <a:cs typeface="Times New Roman"/>
        </a:defRPr>
      </a:lvl3pPr>
      <a:lvl4pPr marL="684213" marR="0" indent="-227013" algn="l" defTabSz="457136" rtl="0" eaLnBrk="1" fontAlgn="base" latinLnBrk="0" hangingPunct="1">
        <a:lnSpc>
          <a:spcPct val="100000"/>
        </a:lnSpc>
        <a:spcBef>
          <a:spcPts val="400"/>
        </a:spcBef>
        <a:spcAft>
          <a:spcPct val="0"/>
        </a:spcAft>
        <a:buClrTx/>
        <a:buSzTx/>
        <a:buFont typeface="Wingdings" pitchFamily="2" charset="2"/>
        <a:buChar char="§"/>
        <a:tabLst/>
        <a:defRPr lang="en-US" sz="1100" kern="1200" baseline="0" dirty="0" smtClean="0">
          <a:solidFill>
            <a:srgbClr val="000000"/>
          </a:solidFill>
          <a:latin typeface="+mn-lt"/>
          <a:ea typeface="ＭＳ Ｐゴシック" pitchFamily="29" charset="-128"/>
          <a:cs typeface="Times New Roman"/>
        </a:defRPr>
      </a:lvl4pPr>
      <a:lvl5pPr marL="912813" indent="-227013" algn="l" defTabSz="914164" rtl="0" eaLnBrk="1" latinLnBrk="0" hangingPunct="1">
        <a:lnSpc>
          <a:spcPct val="100000"/>
        </a:lnSpc>
        <a:spcBef>
          <a:spcPts val="200"/>
        </a:spcBef>
        <a:buClrTx/>
        <a:buFont typeface="Arial" pitchFamily="34" charset="0"/>
        <a:buChar char="•"/>
        <a:defRPr lang="en-US" sz="1300" kern="1200" baseline="0" dirty="0">
          <a:solidFill>
            <a:srgbClr val="000000"/>
          </a:solidFill>
          <a:latin typeface="+mn-lt"/>
          <a:ea typeface="ＭＳ Ｐゴシック" pitchFamily="29" charset="-128"/>
          <a:cs typeface="Times New Roman"/>
        </a:defRPr>
      </a:lvl5pPr>
      <a:lvl6pPr marL="2513952" indent="-228541" algn="l" defTabSz="91416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36" indent="-228541" algn="l" defTabSz="91416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17" indent="-228541" algn="l" defTabSz="91416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199" indent="-228541" algn="l" defTabSz="91416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1" algn="l" defTabSz="914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64" algn="l" defTabSz="914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47" algn="l" defTabSz="914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30" algn="l" defTabSz="914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12" algn="l" defTabSz="914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493" algn="l" defTabSz="914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576" algn="l" defTabSz="914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58" algn="l" defTabSz="914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5" name="Group 144">
            <a:extLst>
              <a:ext uri="{FF2B5EF4-FFF2-40B4-BE49-F238E27FC236}">
                <a16:creationId xmlns:a16="http://schemas.microsoft.com/office/drawing/2014/main" id="{B019F6A2-9905-36FD-010A-05886791271D}"/>
              </a:ext>
            </a:extLst>
          </p:cNvPr>
          <p:cNvGrpSpPr/>
          <p:nvPr userDrawn="1"/>
        </p:nvGrpSpPr>
        <p:grpSpPr>
          <a:xfrm>
            <a:off x="-8318" y="1426088"/>
            <a:ext cx="4070045" cy="4819763"/>
            <a:chOff x="-8318" y="1426088"/>
            <a:chExt cx="4070045" cy="4819763"/>
          </a:xfrm>
          <a:solidFill>
            <a:schemeClr val="accent2">
              <a:alpha val="2000"/>
            </a:schemeClr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8F244094-77CF-BEE3-FAB8-B302AEAE6ADC}"/>
                </a:ext>
              </a:extLst>
            </p:cNvPr>
            <p:cNvSpPr/>
            <p:nvPr/>
          </p:nvSpPr>
          <p:spPr>
            <a:xfrm>
              <a:off x="-8318" y="1426088"/>
              <a:ext cx="3959116" cy="1664181"/>
            </a:xfrm>
            <a:custGeom>
              <a:avLst/>
              <a:gdLst>
                <a:gd name="connsiteX0" fmla="*/ 1666376 w 3959116"/>
                <a:gd name="connsiteY0" fmla="*/ 104 h 1664181"/>
                <a:gd name="connsiteX1" fmla="*/ 3959116 w 3959116"/>
                <a:gd name="connsiteY1" fmla="*/ 1651859 h 1664181"/>
                <a:gd name="connsiteX2" fmla="*/ 3959116 w 3959116"/>
                <a:gd name="connsiteY2" fmla="*/ 1664181 h 1664181"/>
                <a:gd name="connsiteX3" fmla="*/ 3798866 w 3959116"/>
                <a:gd name="connsiteY3" fmla="*/ 1664181 h 1664181"/>
                <a:gd name="connsiteX4" fmla="*/ 3798866 w 3959116"/>
                <a:gd name="connsiteY4" fmla="*/ 1651859 h 1664181"/>
                <a:gd name="connsiteX5" fmla="*/ 1654055 w 3959116"/>
                <a:gd name="connsiteY5" fmla="*/ 135693 h 1664181"/>
                <a:gd name="connsiteX6" fmla="*/ 53152 w 3959116"/>
                <a:gd name="connsiteY6" fmla="*/ 798243 h 1664181"/>
                <a:gd name="connsiteX7" fmla="*/ 0 w 3959116"/>
                <a:gd name="connsiteY7" fmla="*/ 856498 h 1664181"/>
                <a:gd name="connsiteX8" fmla="*/ 0 w 3959116"/>
                <a:gd name="connsiteY8" fmla="*/ 651533 h 1664181"/>
                <a:gd name="connsiteX9" fmla="*/ 120724 w 3959116"/>
                <a:gd name="connsiteY9" fmla="*/ 542652 h 1664181"/>
                <a:gd name="connsiteX10" fmla="*/ 1666376 w 3959116"/>
                <a:gd name="connsiteY10" fmla="*/ 104 h 1664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59116" h="1664181">
                  <a:moveTo>
                    <a:pt x="1666376" y="104"/>
                  </a:moveTo>
                  <a:cubicBezTo>
                    <a:pt x="2701808" y="104"/>
                    <a:pt x="3626294" y="665731"/>
                    <a:pt x="3959116" y="1651859"/>
                  </a:cubicBezTo>
                  <a:lnTo>
                    <a:pt x="3959116" y="1664181"/>
                  </a:lnTo>
                  <a:lnTo>
                    <a:pt x="3798866" y="1664181"/>
                  </a:lnTo>
                  <a:lnTo>
                    <a:pt x="3798866" y="1651859"/>
                  </a:lnTo>
                  <a:cubicBezTo>
                    <a:pt x="3478382" y="739696"/>
                    <a:pt x="2615522" y="135693"/>
                    <a:pt x="1654055" y="135693"/>
                  </a:cubicBezTo>
                  <a:cubicBezTo>
                    <a:pt x="1031571" y="135693"/>
                    <a:pt x="464551" y="388386"/>
                    <a:pt x="53152" y="798243"/>
                  </a:cubicBezTo>
                  <a:lnTo>
                    <a:pt x="0" y="856498"/>
                  </a:lnTo>
                  <a:lnTo>
                    <a:pt x="0" y="651533"/>
                  </a:lnTo>
                  <a:lnTo>
                    <a:pt x="120724" y="542652"/>
                  </a:lnTo>
                  <a:cubicBezTo>
                    <a:pt x="540291" y="199303"/>
                    <a:pt x="1078562" y="-5287"/>
                    <a:pt x="1666376" y="104"/>
                  </a:cubicBezTo>
                  <a:close/>
                </a:path>
              </a:pathLst>
            </a:custGeom>
            <a:grpFill/>
            <a:ln w="69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584E930D-601C-6F5E-8BBE-E1A08254A3F0}"/>
                </a:ext>
              </a:extLst>
            </p:cNvPr>
            <p:cNvSpPr/>
            <p:nvPr/>
          </p:nvSpPr>
          <p:spPr>
            <a:xfrm>
              <a:off x="-8318" y="3534020"/>
              <a:ext cx="4070045" cy="2711831"/>
            </a:xfrm>
            <a:custGeom>
              <a:avLst/>
              <a:gdLst>
                <a:gd name="connsiteX0" fmla="*/ 1678715 w 4070045"/>
                <a:gd name="connsiteY0" fmla="*/ 0 h 2711831"/>
                <a:gd name="connsiteX1" fmla="*/ 4057724 w 4070045"/>
                <a:gd name="connsiteY1" fmla="*/ 12322 h 2711831"/>
                <a:gd name="connsiteX2" fmla="*/ 4070045 w 4070045"/>
                <a:gd name="connsiteY2" fmla="*/ 295841 h 2711831"/>
                <a:gd name="connsiteX3" fmla="*/ 1654055 w 4070045"/>
                <a:gd name="connsiteY3" fmla="*/ 2711831 h 2711831"/>
                <a:gd name="connsiteX4" fmla="*/ 118531 w 4070045"/>
                <a:gd name="connsiteY4" fmla="*/ 2159148 h 2711831"/>
                <a:gd name="connsiteX5" fmla="*/ 0 w 4070045"/>
                <a:gd name="connsiteY5" fmla="*/ 2051387 h 2711831"/>
                <a:gd name="connsiteX6" fmla="*/ 0 w 4070045"/>
                <a:gd name="connsiteY6" fmla="*/ 1843116 h 2711831"/>
                <a:gd name="connsiteX7" fmla="*/ 53152 w 4070045"/>
                <a:gd name="connsiteY7" fmla="*/ 1901371 h 2711831"/>
                <a:gd name="connsiteX8" fmla="*/ 1654055 w 4070045"/>
                <a:gd name="connsiteY8" fmla="*/ 2563920 h 2711831"/>
                <a:gd name="connsiteX9" fmla="*/ 3922134 w 4070045"/>
                <a:gd name="connsiteY9" fmla="*/ 295841 h 2711831"/>
                <a:gd name="connsiteX10" fmla="*/ 3922134 w 4070045"/>
                <a:gd name="connsiteY10" fmla="*/ 147912 h 2711831"/>
                <a:gd name="connsiteX11" fmla="*/ 1678715 w 4070045"/>
                <a:gd name="connsiteY11" fmla="*/ 147912 h 2711831"/>
                <a:gd name="connsiteX12" fmla="*/ 1678715 w 4070045"/>
                <a:gd name="connsiteY12" fmla="*/ 0 h 2711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070045" h="2711831">
                  <a:moveTo>
                    <a:pt x="1678715" y="0"/>
                  </a:moveTo>
                  <a:lnTo>
                    <a:pt x="4057724" y="12322"/>
                  </a:lnTo>
                  <a:cubicBezTo>
                    <a:pt x="4070045" y="110947"/>
                    <a:pt x="4070045" y="197233"/>
                    <a:pt x="4070045" y="295841"/>
                  </a:cubicBezTo>
                  <a:cubicBezTo>
                    <a:pt x="4070045" y="1627095"/>
                    <a:pt x="2985327" y="2711831"/>
                    <a:pt x="1654055" y="2711831"/>
                  </a:cubicBezTo>
                  <a:cubicBezTo>
                    <a:pt x="1071631" y="2711831"/>
                    <a:pt x="536392" y="2504206"/>
                    <a:pt x="118531" y="2159148"/>
                  </a:cubicBezTo>
                  <a:lnTo>
                    <a:pt x="0" y="2051387"/>
                  </a:lnTo>
                  <a:lnTo>
                    <a:pt x="0" y="1843116"/>
                  </a:lnTo>
                  <a:lnTo>
                    <a:pt x="53152" y="1901371"/>
                  </a:lnTo>
                  <a:cubicBezTo>
                    <a:pt x="464551" y="2311227"/>
                    <a:pt x="1031571" y="2563920"/>
                    <a:pt x="1654055" y="2563920"/>
                  </a:cubicBezTo>
                  <a:cubicBezTo>
                    <a:pt x="2899041" y="2563920"/>
                    <a:pt x="3922134" y="1553149"/>
                    <a:pt x="3922134" y="295841"/>
                  </a:cubicBezTo>
                  <a:cubicBezTo>
                    <a:pt x="3922134" y="246537"/>
                    <a:pt x="3922134" y="197233"/>
                    <a:pt x="3922134" y="147912"/>
                  </a:cubicBezTo>
                  <a:lnTo>
                    <a:pt x="1678715" y="147912"/>
                  </a:lnTo>
                  <a:lnTo>
                    <a:pt x="1678715" y="0"/>
                  </a:lnTo>
                  <a:close/>
                </a:path>
              </a:pathLst>
            </a:custGeom>
            <a:grpFill/>
            <a:ln w="69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4CD42581-CC8E-8F3D-7C61-84880FDD7973}"/>
                </a:ext>
              </a:extLst>
            </p:cNvPr>
            <p:cNvSpPr/>
            <p:nvPr/>
          </p:nvSpPr>
          <p:spPr>
            <a:xfrm>
              <a:off x="67945" y="2227408"/>
              <a:ext cx="3106261" cy="3155582"/>
            </a:xfrm>
            <a:custGeom>
              <a:avLst/>
              <a:gdLst>
                <a:gd name="connsiteX0" fmla="*/ 88868 w 174958"/>
                <a:gd name="connsiteY0" fmla="*/ 9026 h 177736"/>
                <a:gd name="connsiteX1" fmla="*/ 157602 w 174958"/>
                <a:gd name="connsiteY1" fmla="*/ 47211 h 177736"/>
                <a:gd name="connsiteX2" fmla="*/ 157602 w 174958"/>
                <a:gd name="connsiteY2" fmla="*/ 47211 h 177736"/>
                <a:gd name="connsiteX3" fmla="*/ 167322 w 174958"/>
                <a:gd name="connsiteY3" fmla="*/ 47211 h 177736"/>
                <a:gd name="connsiteX4" fmla="*/ 166628 w 174958"/>
                <a:gd name="connsiteY4" fmla="*/ 45823 h 177736"/>
                <a:gd name="connsiteX5" fmla="*/ 88868 w 174958"/>
                <a:gd name="connsiteY5" fmla="*/ 0 h 177736"/>
                <a:gd name="connsiteX6" fmla="*/ 0 w 174958"/>
                <a:gd name="connsiteY6" fmla="*/ 88868 h 177736"/>
                <a:gd name="connsiteX7" fmla="*/ 88868 w 174958"/>
                <a:gd name="connsiteY7" fmla="*/ 177736 h 177736"/>
                <a:gd name="connsiteX8" fmla="*/ 174959 w 174958"/>
                <a:gd name="connsiteY8" fmla="*/ 112474 h 177736"/>
                <a:gd name="connsiteX9" fmla="*/ 174959 w 174958"/>
                <a:gd name="connsiteY9" fmla="*/ 111779 h 177736"/>
                <a:gd name="connsiteX10" fmla="*/ 90257 w 174958"/>
                <a:gd name="connsiteY10" fmla="*/ 111779 h 177736"/>
                <a:gd name="connsiteX11" fmla="*/ 90257 w 174958"/>
                <a:gd name="connsiteY11" fmla="*/ 121499 h 177736"/>
                <a:gd name="connsiteX12" fmla="*/ 163850 w 174958"/>
                <a:gd name="connsiteY12" fmla="*/ 121499 h 177736"/>
                <a:gd name="connsiteX13" fmla="*/ 89562 w 174958"/>
                <a:gd name="connsiteY13" fmla="*/ 171488 h 177736"/>
                <a:gd name="connsiteX14" fmla="*/ 8331 w 174958"/>
                <a:gd name="connsiteY14" fmla="*/ 90257 h 177736"/>
                <a:gd name="connsiteX15" fmla="*/ 88868 w 174958"/>
                <a:gd name="connsiteY15" fmla="*/ 9026 h 177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4958" h="177736">
                  <a:moveTo>
                    <a:pt x="88868" y="9026"/>
                  </a:moveTo>
                  <a:cubicBezTo>
                    <a:pt x="117334" y="9026"/>
                    <a:pt x="143022" y="23606"/>
                    <a:pt x="157602" y="47211"/>
                  </a:cubicBezTo>
                  <a:lnTo>
                    <a:pt x="157602" y="47211"/>
                  </a:lnTo>
                  <a:lnTo>
                    <a:pt x="167322" y="47211"/>
                  </a:lnTo>
                  <a:lnTo>
                    <a:pt x="166628" y="45823"/>
                  </a:lnTo>
                  <a:cubicBezTo>
                    <a:pt x="150659" y="17357"/>
                    <a:pt x="120805" y="0"/>
                    <a:pt x="88868" y="0"/>
                  </a:cubicBezTo>
                  <a:cubicBezTo>
                    <a:pt x="39574" y="0"/>
                    <a:pt x="0" y="40268"/>
                    <a:pt x="0" y="88868"/>
                  </a:cubicBezTo>
                  <a:cubicBezTo>
                    <a:pt x="0" y="137468"/>
                    <a:pt x="40268" y="177736"/>
                    <a:pt x="88868" y="177736"/>
                  </a:cubicBezTo>
                  <a:cubicBezTo>
                    <a:pt x="129136" y="177736"/>
                    <a:pt x="163850" y="150659"/>
                    <a:pt x="174959" y="112474"/>
                  </a:cubicBezTo>
                  <a:lnTo>
                    <a:pt x="174959" y="111779"/>
                  </a:lnTo>
                  <a:lnTo>
                    <a:pt x="90257" y="111779"/>
                  </a:lnTo>
                  <a:lnTo>
                    <a:pt x="90257" y="121499"/>
                  </a:lnTo>
                  <a:lnTo>
                    <a:pt x="163850" y="121499"/>
                  </a:lnTo>
                  <a:cubicBezTo>
                    <a:pt x="151353" y="152048"/>
                    <a:pt x="122194" y="171488"/>
                    <a:pt x="89562" y="171488"/>
                  </a:cubicBezTo>
                  <a:cubicBezTo>
                    <a:pt x="44434" y="171488"/>
                    <a:pt x="8331" y="134691"/>
                    <a:pt x="8331" y="90257"/>
                  </a:cubicBezTo>
                  <a:cubicBezTo>
                    <a:pt x="8331" y="45823"/>
                    <a:pt x="44434" y="9026"/>
                    <a:pt x="88868" y="9026"/>
                  </a:cubicBezTo>
                  <a:close/>
                </a:path>
              </a:pathLst>
            </a:custGeom>
            <a:grpFill/>
            <a:ln w="69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8635FBE0-0015-33FC-7E19-7073817EB680}"/>
                </a:ext>
              </a:extLst>
            </p:cNvPr>
            <p:cNvSpPr/>
            <p:nvPr userDrawn="1"/>
          </p:nvSpPr>
          <p:spPr>
            <a:xfrm>
              <a:off x="-8318" y="1820638"/>
              <a:ext cx="3515346" cy="1257308"/>
            </a:xfrm>
            <a:custGeom>
              <a:avLst/>
              <a:gdLst>
                <a:gd name="connsiteX0" fmla="*/ 1654054 w 3515346"/>
                <a:gd name="connsiteY0" fmla="*/ 0 h 1257308"/>
                <a:gd name="connsiteX1" fmla="*/ 3503025 w 3515346"/>
                <a:gd name="connsiteY1" fmla="*/ 1244969 h 1257308"/>
                <a:gd name="connsiteX2" fmla="*/ 3515346 w 3515346"/>
                <a:gd name="connsiteY2" fmla="*/ 1257308 h 1257308"/>
                <a:gd name="connsiteX3" fmla="*/ 3355114 w 3515346"/>
                <a:gd name="connsiteY3" fmla="*/ 1257308 h 1257308"/>
                <a:gd name="connsiteX4" fmla="*/ 1666376 w 3515346"/>
                <a:gd name="connsiteY4" fmla="*/ 147911 h 1257308"/>
                <a:gd name="connsiteX5" fmla="*/ 30713 w 3515346"/>
                <a:gd name="connsiteY5" fmla="*/ 1124173 h 1257308"/>
                <a:gd name="connsiteX6" fmla="*/ 0 w 3515346"/>
                <a:gd name="connsiteY6" fmla="*/ 1187649 h 1257308"/>
                <a:gd name="connsiteX7" fmla="*/ 0 w 3515346"/>
                <a:gd name="connsiteY7" fmla="*/ 869995 h 1257308"/>
                <a:gd name="connsiteX8" fmla="*/ 103733 w 3515346"/>
                <a:gd name="connsiteY8" fmla="*/ 731288 h 1257308"/>
                <a:gd name="connsiteX9" fmla="*/ 1654054 w 3515346"/>
                <a:gd name="connsiteY9" fmla="*/ 0 h 1257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15346" h="1257308">
                  <a:moveTo>
                    <a:pt x="1654054" y="0"/>
                  </a:moveTo>
                  <a:cubicBezTo>
                    <a:pt x="2467593" y="0"/>
                    <a:pt x="3194863" y="493055"/>
                    <a:pt x="3503025" y="1244969"/>
                  </a:cubicBezTo>
                  <a:lnTo>
                    <a:pt x="3515346" y="1257308"/>
                  </a:lnTo>
                  <a:lnTo>
                    <a:pt x="3355114" y="1257308"/>
                  </a:lnTo>
                  <a:cubicBezTo>
                    <a:pt x="3059273" y="579342"/>
                    <a:pt x="2393646" y="147911"/>
                    <a:pt x="1666376" y="147911"/>
                  </a:cubicBezTo>
                  <a:cubicBezTo>
                    <a:pt x="963000" y="147911"/>
                    <a:pt x="347014" y="544100"/>
                    <a:pt x="30713" y="1124173"/>
                  </a:cubicBezTo>
                  <a:lnTo>
                    <a:pt x="0" y="1187649"/>
                  </a:lnTo>
                  <a:lnTo>
                    <a:pt x="0" y="869995"/>
                  </a:lnTo>
                  <a:lnTo>
                    <a:pt x="103733" y="731288"/>
                  </a:lnTo>
                  <a:cubicBezTo>
                    <a:pt x="472301" y="284716"/>
                    <a:pt x="1030028" y="0"/>
                    <a:pt x="165405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marL="228600" indent="-228600" algn="ctr">
                <a:buFont typeface="Arial" pitchFamily="34" charset="0"/>
                <a:buChar char="•"/>
              </a:pPr>
              <a:endParaRPr lang="en-GB" sz="1400" err="1">
                <a:solidFill>
                  <a:schemeClr val="tx1"/>
                </a:solidFill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9792654-AD02-76EF-1D68-50F56B14E085}"/>
                </a:ext>
              </a:extLst>
            </p:cNvPr>
            <p:cNvSpPr/>
            <p:nvPr userDrawn="1"/>
          </p:nvSpPr>
          <p:spPr>
            <a:xfrm>
              <a:off x="-8318" y="3891485"/>
              <a:ext cx="3650954" cy="1947596"/>
            </a:xfrm>
            <a:custGeom>
              <a:avLst/>
              <a:gdLst>
                <a:gd name="connsiteX0" fmla="*/ 1333571 w 3650954"/>
                <a:gd name="connsiteY0" fmla="*/ 0 h 1947596"/>
                <a:gd name="connsiteX1" fmla="*/ 3650954 w 3650954"/>
                <a:gd name="connsiteY1" fmla="*/ 0 h 1947596"/>
                <a:gd name="connsiteX2" fmla="*/ 3650954 w 3650954"/>
                <a:gd name="connsiteY2" fmla="*/ 12339 h 1947596"/>
                <a:gd name="connsiteX3" fmla="*/ 3046952 w 3650954"/>
                <a:gd name="connsiteY3" fmla="*/ 1380576 h 1947596"/>
                <a:gd name="connsiteX4" fmla="*/ 1654054 w 3650954"/>
                <a:gd name="connsiteY4" fmla="*/ 1947596 h 1947596"/>
                <a:gd name="connsiteX5" fmla="*/ 103733 w 3650954"/>
                <a:gd name="connsiteY5" fmla="*/ 1216308 h 1947596"/>
                <a:gd name="connsiteX6" fmla="*/ 0 w 3650954"/>
                <a:gd name="connsiteY6" fmla="*/ 1077603 h 1947596"/>
                <a:gd name="connsiteX7" fmla="*/ 0 w 3650954"/>
                <a:gd name="connsiteY7" fmla="*/ 759947 h 1947596"/>
                <a:gd name="connsiteX8" fmla="*/ 30713 w 3650954"/>
                <a:gd name="connsiteY8" fmla="*/ 823423 h 1947596"/>
                <a:gd name="connsiteX9" fmla="*/ 1666376 w 3650954"/>
                <a:gd name="connsiteY9" fmla="*/ 1799685 h 1947596"/>
                <a:gd name="connsiteX10" fmla="*/ 2911362 w 3650954"/>
                <a:gd name="connsiteY10" fmla="*/ 1318951 h 1947596"/>
                <a:gd name="connsiteX11" fmla="*/ 3503025 w 3650954"/>
                <a:gd name="connsiteY11" fmla="*/ 147929 h 1947596"/>
                <a:gd name="connsiteX12" fmla="*/ 1333571 w 3650954"/>
                <a:gd name="connsiteY12" fmla="*/ 147929 h 1947596"/>
                <a:gd name="connsiteX13" fmla="*/ 1333571 w 3650954"/>
                <a:gd name="connsiteY13" fmla="*/ 0 h 1947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50954" h="1947596">
                  <a:moveTo>
                    <a:pt x="1333571" y="0"/>
                  </a:moveTo>
                  <a:lnTo>
                    <a:pt x="3650954" y="0"/>
                  </a:lnTo>
                  <a:lnTo>
                    <a:pt x="3650954" y="12339"/>
                  </a:lnTo>
                  <a:cubicBezTo>
                    <a:pt x="3638615" y="530055"/>
                    <a:pt x="3416739" y="1010789"/>
                    <a:pt x="3046952" y="1380576"/>
                  </a:cubicBezTo>
                  <a:cubicBezTo>
                    <a:pt x="2677147" y="1750363"/>
                    <a:pt x="2171770" y="1947596"/>
                    <a:pt x="1654054" y="1947596"/>
                  </a:cubicBezTo>
                  <a:cubicBezTo>
                    <a:pt x="1030028" y="1947596"/>
                    <a:pt x="472301" y="1662880"/>
                    <a:pt x="103733" y="1216308"/>
                  </a:cubicBezTo>
                  <a:lnTo>
                    <a:pt x="0" y="1077603"/>
                  </a:lnTo>
                  <a:lnTo>
                    <a:pt x="0" y="759947"/>
                  </a:lnTo>
                  <a:lnTo>
                    <a:pt x="30713" y="823423"/>
                  </a:lnTo>
                  <a:cubicBezTo>
                    <a:pt x="347014" y="1403496"/>
                    <a:pt x="963000" y="1799685"/>
                    <a:pt x="1666376" y="1799685"/>
                  </a:cubicBezTo>
                  <a:cubicBezTo>
                    <a:pt x="2122467" y="1799685"/>
                    <a:pt x="2566218" y="1627113"/>
                    <a:pt x="2911362" y="1318951"/>
                  </a:cubicBezTo>
                  <a:cubicBezTo>
                    <a:pt x="3244167" y="1010789"/>
                    <a:pt x="3453721" y="604002"/>
                    <a:pt x="3503025" y="147929"/>
                  </a:cubicBezTo>
                  <a:lnTo>
                    <a:pt x="1333571" y="147929"/>
                  </a:lnTo>
                  <a:lnTo>
                    <a:pt x="1333571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marL="228600" indent="-228600" algn="ctr">
                <a:buFont typeface="Arial" pitchFamily="34" charset="0"/>
                <a:buChar char="•"/>
              </a:pPr>
              <a:endParaRPr lang="en-GB" sz="1400" err="1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02BA17-BD4D-499A-9F13-D64A4B2CF429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68879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53" imgH="353" progId="TCLayout.ActiveDocument.1">
                  <p:embed/>
                </p:oleObj>
              </mc:Choice>
              <mc:Fallback>
                <p:oleObj name="think-cell Slide" r:id="rId16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02BA17-BD4D-499A-9F13-D64A4B2CF4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694944" y="301752"/>
            <a:ext cx="10789920" cy="429768"/>
          </a:xfrm>
          <a:prstGeom prst="rect">
            <a:avLst/>
          </a:prstGeom>
        </p:spPr>
        <p:txBody>
          <a:bodyPr vert="horz" lIns="0" tIns="0" rIns="0" bIns="45720" rtlCol="0" anchor="b" anchorCtr="0">
            <a:noAutofit/>
          </a:bodyPr>
          <a:lstStyle/>
          <a:p>
            <a:r>
              <a:rPr lang="en-US"/>
              <a:t>Click To Edit Master Title Style 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694944" y="1435608"/>
            <a:ext cx="10789920" cy="473659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692908" y="-381000"/>
            <a:ext cx="10800080" cy="254794"/>
            <a:chOff x="519681" y="1435608"/>
            <a:chExt cx="8100060" cy="254794"/>
          </a:xfrm>
        </p:grpSpPr>
        <p:cxnSp>
          <p:nvCxnSpPr>
            <p:cNvPr id="36" name="Straight Connector 35"/>
            <p:cNvCxnSpPr/>
            <p:nvPr userDrawn="1"/>
          </p:nvCxnSpPr>
          <p:spPr>
            <a:xfrm>
              <a:off x="3087621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3282694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853681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6048754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8619741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519681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oup 47"/>
          <p:cNvGrpSpPr/>
          <p:nvPr/>
        </p:nvGrpSpPr>
        <p:grpSpPr>
          <a:xfrm>
            <a:off x="12423944" y="731521"/>
            <a:ext cx="336000" cy="5621655"/>
            <a:chOff x="269208" y="731520"/>
            <a:chExt cx="252000" cy="5621655"/>
          </a:xfrm>
        </p:grpSpPr>
        <p:cxnSp>
          <p:nvCxnSpPr>
            <p:cNvPr id="49" name="Straight Connector 48"/>
            <p:cNvCxnSpPr/>
            <p:nvPr userDrawn="1"/>
          </p:nvCxnSpPr>
          <p:spPr>
            <a:xfrm>
              <a:off x="269208" y="731520"/>
              <a:ext cx="252000" cy="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 userDrawn="1"/>
          </p:nvCxnSpPr>
          <p:spPr>
            <a:xfrm>
              <a:off x="269208" y="1426083"/>
              <a:ext cx="252000" cy="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 userDrawn="1"/>
          </p:nvCxnSpPr>
          <p:spPr>
            <a:xfrm>
              <a:off x="269208" y="6353175"/>
              <a:ext cx="252000" cy="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>
              <a:off x="269208" y="3721608"/>
              <a:ext cx="252000" cy="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>
              <a:off x="269208" y="3874008"/>
              <a:ext cx="252000" cy="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oup 53"/>
          <p:cNvGrpSpPr/>
          <p:nvPr/>
        </p:nvGrpSpPr>
        <p:grpSpPr>
          <a:xfrm>
            <a:off x="692908" y="6991350"/>
            <a:ext cx="10800080" cy="254794"/>
            <a:chOff x="519681" y="1435608"/>
            <a:chExt cx="8100060" cy="254794"/>
          </a:xfrm>
        </p:grpSpPr>
        <p:cxnSp>
          <p:nvCxnSpPr>
            <p:cNvPr id="55" name="Straight Connector 54"/>
            <p:cNvCxnSpPr/>
            <p:nvPr userDrawn="1"/>
          </p:nvCxnSpPr>
          <p:spPr>
            <a:xfrm>
              <a:off x="3087621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 userDrawn="1"/>
          </p:nvCxnSpPr>
          <p:spPr>
            <a:xfrm>
              <a:off x="3282694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 userDrawn="1"/>
          </p:nvCxnSpPr>
          <p:spPr>
            <a:xfrm>
              <a:off x="5853681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>
            <a:xfrm>
              <a:off x="6048754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 userDrawn="1"/>
          </p:nvCxnSpPr>
          <p:spPr>
            <a:xfrm>
              <a:off x="8619741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 userDrawn="1"/>
          </p:nvCxnSpPr>
          <p:spPr>
            <a:xfrm>
              <a:off x="519681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BCA1602-0E93-4C53-B2FD-430FBBCB6902}"/>
              </a:ext>
            </a:extLst>
          </p:cNvPr>
          <p:cNvCxnSpPr>
            <a:cxnSpLocks/>
          </p:cNvCxnSpPr>
          <p:nvPr/>
        </p:nvCxnSpPr>
        <p:spPr>
          <a:xfrm>
            <a:off x="692908" y="731520"/>
            <a:ext cx="10800080" cy="0"/>
          </a:xfrm>
          <a:prstGeom prst="line">
            <a:avLst/>
          </a:prstGeom>
          <a:ln w="38100">
            <a:solidFill>
              <a:schemeClr val="accent2"/>
            </a:solidFill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E9DDC34-32E4-D9AA-EAAB-426BF9214C15}"/>
              </a:ext>
            </a:extLst>
          </p:cNvPr>
          <p:cNvCxnSpPr>
            <a:cxnSpLocks/>
          </p:cNvCxnSpPr>
          <p:nvPr/>
        </p:nvCxnSpPr>
        <p:spPr>
          <a:xfrm>
            <a:off x="11267246" y="6516669"/>
            <a:ext cx="0" cy="252331"/>
          </a:xfrm>
          <a:prstGeom prst="line">
            <a:avLst/>
          </a:prstGeom>
          <a:ln w="19050">
            <a:solidFill>
              <a:schemeClr val="accent2">
                <a:alpha val="85000"/>
              </a:schemeClr>
            </a:solidFill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684AEACE-03A5-FB5C-F858-17EDDE0E91A7}"/>
              </a:ext>
            </a:extLst>
          </p:cNvPr>
          <p:cNvPicPr>
            <a:picLocks noChangeAspect="1"/>
          </p:cNvPicPr>
          <p:nvPr userDrawn="1">
            <p:custDataLst>
              <p:tags r:id="rId13"/>
            </p:custDataLst>
          </p:nvPr>
        </p:nvPicPr>
        <p:blipFill>
          <a:blip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9788801" y="6507449"/>
            <a:ext cx="1319135" cy="27077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0BBE69AD-361D-398F-904A-8E8704800641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11132742" y="6565890"/>
            <a:ext cx="40975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 defTabSz="914164" rtl="0" eaLnBrk="1" latinLnBrk="0" hangingPunct="1">
              <a:buFont typeface="Arial" pitchFamily="34" charset="0"/>
              <a:buNone/>
            </a:pPr>
            <a:fld id="{790FC2AF-B194-488D-8ACC-F2E58C812CDE}" type="slidenum">
              <a:rPr lang="en-US" sz="10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indent="0" algn="r" defTabSz="914164" rtl="0" eaLnBrk="1" latinLnBrk="0" hangingPunct="1">
                <a:buFont typeface="Arial" pitchFamily="34" charset="0"/>
                <a:buNone/>
              </a:pPr>
              <a:t>‹#›</a:t>
            </a:fld>
            <a:endParaRPr lang="en-US" sz="1000" kern="120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5" name="Picture 4" descr="WB_Final_approved.png">
            <a:extLst>
              <a:ext uri="{FF2B5EF4-FFF2-40B4-BE49-F238E27FC236}">
                <a16:creationId xmlns:a16="http://schemas.microsoft.com/office/drawing/2014/main" id="{D29D96B2-BA1C-02FB-5DC3-EBE7BA5EE2F2}"/>
              </a:ext>
            </a:extLst>
          </p:cNvPr>
          <p:cNvPicPr>
            <a:picLocks noChangeAspect="1"/>
          </p:cNvPicPr>
          <p:nvPr userDrawn="1">
            <p:custDataLst>
              <p:tags r:id="rId15"/>
            </p:custDataLst>
          </p:nvPr>
        </p:nvPicPr>
        <p:blipFill>
          <a:blip r:embed="rId19" cstate="print"/>
          <a:stretch>
            <a:fillRect/>
          </a:stretch>
        </p:blipFill>
        <p:spPr>
          <a:xfrm>
            <a:off x="329941" y="6605996"/>
            <a:ext cx="744618" cy="13446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FC31660-9F87-379E-BEA4-2863EED115BE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1110835" y="6620158"/>
            <a:ext cx="493685" cy="106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756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4" r:id="rId9"/>
  </p:sldLayoutIdLst>
  <p:hf sldNum="0" hdr="0" dt="0"/>
  <p:txStyles>
    <p:titleStyle>
      <a:lvl1pPr algn="l" defTabSz="914164" rtl="0" eaLnBrk="1" latinLnBrk="0" hangingPunct="1">
        <a:lnSpc>
          <a:spcPct val="100000"/>
        </a:lnSpc>
        <a:spcBef>
          <a:spcPct val="0"/>
        </a:spcBef>
        <a:buNone/>
        <a:defRPr sz="2000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164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Wingdings" panose="05000000000000000000" pitchFamily="2" charset="2"/>
        <a:buChar char="§"/>
        <a:defRPr lang="en-US" sz="1200" kern="1200" baseline="0" dirty="0">
          <a:solidFill>
            <a:schemeClr val="accent2"/>
          </a:solidFill>
          <a:latin typeface="+mn-lt"/>
          <a:ea typeface="ＭＳ Ｐゴシック" pitchFamily="29" charset="-128"/>
          <a:cs typeface="Times New Roman"/>
        </a:defRPr>
      </a:lvl1pPr>
      <a:lvl2pPr marL="342900" indent="-171450" algn="l" defTabSz="914164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‒"/>
        <a:defRPr lang="en-US" sz="1100" kern="1200" baseline="0" dirty="0" smtClean="0">
          <a:solidFill>
            <a:schemeClr val="accent2"/>
          </a:solidFill>
          <a:latin typeface="+mn-lt"/>
          <a:ea typeface="ＭＳ Ｐゴシック" pitchFamily="29" charset="-128"/>
          <a:cs typeface="Times New Roman"/>
        </a:defRPr>
      </a:lvl2pPr>
      <a:lvl3pPr marL="514350" marR="0" indent="-171450" algn="l" defTabSz="457136" rtl="0" eaLnBrk="1" fontAlgn="base" latinLnBrk="0" hangingPunct="1">
        <a:lnSpc>
          <a:spcPct val="100000"/>
        </a:lnSpc>
        <a:spcBef>
          <a:spcPts val="600"/>
        </a:spcBef>
        <a:spcAft>
          <a:spcPct val="0"/>
        </a:spcAft>
        <a:buClr>
          <a:schemeClr val="accent2"/>
        </a:buClr>
        <a:buSzTx/>
        <a:buFont typeface="Arial" panose="020B0604020202020204" pitchFamily="34" charset="0"/>
        <a:buChar char="•"/>
        <a:tabLst/>
        <a:defRPr lang="en-US" sz="1050" kern="1200" baseline="0" dirty="0" smtClean="0">
          <a:solidFill>
            <a:schemeClr val="accent2"/>
          </a:solidFill>
          <a:latin typeface="+mn-lt"/>
          <a:ea typeface="ＭＳ Ｐゴシック" pitchFamily="29" charset="-128"/>
          <a:cs typeface="Times New Roman"/>
        </a:defRPr>
      </a:lvl3pPr>
      <a:lvl4pPr marL="684213" marR="0" indent="-227013" algn="l" defTabSz="457136" rtl="0" eaLnBrk="1" fontAlgn="base" latinLnBrk="0" hangingPunct="1">
        <a:lnSpc>
          <a:spcPct val="100000"/>
        </a:lnSpc>
        <a:spcBef>
          <a:spcPts val="400"/>
        </a:spcBef>
        <a:spcAft>
          <a:spcPct val="0"/>
        </a:spcAft>
        <a:buClrTx/>
        <a:buSzTx/>
        <a:buFont typeface="Wingdings" pitchFamily="2" charset="2"/>
        <a:buChar char="§"/>
        <a:tabLst/>
        <a:defRPr lang="en-US" sz="1100" kern="1200" baseline="0" dirty="0" smtClean="0">
          <a:solidFill>
            <a:srgbClr val="000000"/>
          </a:solidFill>
          <a:latin typeface="+mn-lt"/>
          <a:ea typeface="ＭＳ Ｐゴシック" pitchFamily="29" charset="-128"/>
          <a:cs typeface="Times New Roman"/>
        </a:defRPr>
      </a:lvl4pPr>
      <a:lvl5pPr marL="912813" indent="-227013" algn="l" defTabSz="914164" rtl="0" eaLnBrk="1" latinLnBrk="0" hangingPunct="1">
        <a:lnSpc>
          <a:spcPct val="100000"/>
        </a:lnSpc>
        <a:spcBef>
          <a:spcPts val="200"/>
        </a:spcBef>
        <a:buClrTx/>
        <a:buFont typeface="Arial" pitchFamily="34" charset="0"/>
        <a:buChar char="•"/>
        <a:defRPr lang="en-US" sz="1300" kern="1200" baseline="0" dirty="0">
          <a:solidFill>
            <a:srgbClr val="000000"/>
          </a:solidFill>
          <a:latin typeface="+mn-lt"/>
          <a:ea typeface="ＭＳ Ｐゴシック" pitchFamily="29" charset="-128"/>
          <a:cs typeface="Times New Roman"/>
        </a:defRPr>
      </a:lvl5pPr>
      <a:lvl6pPr marL="2513952" indent="-228541" algn="l" defTabSz="91416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36" indent="-228541" algn="l" defTabSz="91416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17" indent="-228541" algn="l" defTabSz="91416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199" indent="-228541" algn="l" defTabSz="91416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1" algn="l" defTabSz="914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64" algn="l" defTabSz="914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47" algn="l" defTabSz="914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30" algn="l" defTabSz="914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12" algn="l" defTabSz="914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493" algn="l" defTabSz="914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576" algn="l" defTabSz="914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58" algn="l" defTabSz="914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88EDDB5-A935-B032-851B-138E16B027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5762F7-22BF-A66A-AD4A-396E92511A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4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8734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  <p:sldLayoutId id="2147483867" r:id="rId9"/>
    <p:sldLayoutId id="2147483868" r:id="rId10"/>
    <p:sldLayoutId id="2147483869" r:id="rId11"/>
    <p:sldLayoutId id="2147483870" r:id="rId12"/>
    <p:sldLayoutId id="2147483871" r:id="rId13"/>
    <p:sldLayoutId id="2147483872" r:id="rId14"/>
    <p:sldLayoutId id="2147483873" r:id="rId15"/>
    <p:sldLayoutId id="2147483874" r:id="rId16"/>
    <p:sldLayoutId id="2147483875" r:id="rId17"/>
    <p:sldLayoutId id="2147483876" r:id="rId18"/>
    <p:sldLayoutId id="2147483877" r:id="rId19"/>
    <p:sldLayoutId id="2147483878" r:id="rId20"/>
    <p:sldLayoutId id="2147483879" r:id="rId21"/>
    <p:sldLayoutId id="2147483880" r:id="rId22"/>
    <p:sldLayoutId id="2147483881" r:id="rId23"/>
    <p:sldLayoutId id="2147483882" r:id="rId24"/>
    <p:sldLayoutId id="2147483883" r:id="rId25"/>
    <p:sldLayoutId id="2147483884" r:id="rId26"/>
    <p:sldLayoutId id="2147483885" r:id="rId27"/>
    <p:sldLayoutId id="2147483886" r:id="rId28"/>
    <p:sldLayoutId id="2147483887" r:id="rId29"/>
    <p:sldLayoutId id="2147483888" r:id="rId30"/>
    <p:sldLayoutId id="2147483889" r:id="rId31"/>
    <p:sldLayoutId id="2147483890" r:id="rId32"/>
    <p:sldLayoutId id="2147483891" r:id="rId33"/>
    <p:sldLayoutId id="2147483892" r:id="rId34"/>
    <p:sldLayoutId id="2147483893" r:id="rId35"/>
    <p:sldLayoutId id="2147483894" r:id="rId36"/>
    <p:sldLayoutId id="2147483895" r:id="rId37"/>
    <p:sldLayoutId id="2147483896" r:id="rId38"/>
    <p:sldLayoutId id="2147483897" r:id="rId39"/>
    <p:sldLayoutId id="2147483898" r:id="rId40"/>
    <p:sldLayoutId id="2147483899" r:id="rId41"/>
    <p:sldLayoutId id="2147483900" r:id="rId42"/>
    <p:sldLayoutId id="2147483901" r:id="rId43"/>
    <p:sldLayoutId id="2147483902" r:id="rId44"/>
    <p:sldLayoutId id="2147483903" r:id="rId45"/>
    <p:sldLayoutId id="2147483904" r:id="rId46"/>
    <p:sldLayoutId id="2147483905" r:id="rId47"/>
    <p:sldLayoutId id="2147483906" r:id="rId48"/>
    <p:sldLayoutId id="2147483907" r:id="rId49"/>
    <p:sldLayoutId id="2147483908" r:id="rId50"/>
    <p:sldLayoutId id="2147483909" r:id="rId51"/>
    <p:sldLayoutId id="2147483910" r:id="rId52"/>
    <p:sldLayoutId id="2147483911" r:id="rId53"/>
    <p:sldLayoutId id="2147483912" r:id="rId54"/>
    <p:sldLayoutId id="2147483913" r:id="rId55"/>
    <p:sldLayoutId id="2147483914" r:id="rId56"/>
    <p:sldLayoutId id="2147483915" r:id="rId57"/>
    <p:sldLayoutId id="2147483916" r:id="rId58"/>
    <p:sldLayoutId id="2147483917" r:id="rId59"/>
    <p:sldLayoutId id="2147483918" r:id="rId60"/>
    <p:sldLayoutId id="2147483919" r:id="rId61"/>
    <p:sldLayoutId id="2147483920" r:id="rId62"/>
    <p:sldLayoutId id="2147483921" r:id="rId63"/>
    <p:sldLayoutId id="2147483922" r:id="rId64"/>
    <p:sldLayoutId id="2147483923" r:id="rId65"/>
    <p:sldLayoutId id="2147483924" r:id="rId66"/>
    <p:sldLayoutId id="2147483925" r:id="rId67"/>
    <p:sldLayoutId id="2147483926" r:id="rId68"/>
    <p:sldLayoutId id="2147483927" r:id="rId69"/>
    <p:sldLayoutId id="2147483928" r:id="rId70"/>
    <p:sldLayoutId id="2147483929" r:id="rId71"/>
    <p:sldLayoutId id="2147483930" r:id="rId72"/>
    <p:sldLayoutId id="2147483931" r:id="rId73"/>
    <p:sldLayoutId id="2147483932" r:id="rId74"/>
    <p:sldLayoutId id="2147483933" r:id="rId75"/>
    <p:sldLayoutId id="2147483934" r:id="rId76"/>
    <p:sldLayoutId id="2147483935" r:id="rId77"/>
    <p:sldLayoutId id="2147483936" r:id="rId78"/>
    <p:sldLayoutId id="2147483937" r:id="rId79"/>
    <p:sldLayoutId id="2147483938" r:id="rId80"/>
    <p:sldLayoutId id="2147483939" r:id="rId81"/>
    <p:sldLayoutId id="2147483940" r:id="rId82"/>
    <p:sldLayoutId id="2147483941" r:id="rId83"/>
    <p:sldLayoutId id="2147483942" r:id="rId84"/>
    <p:sldLayoutId id="2147483943" r:id="rId85"/>
    <p:sldLayoutId id="2147483944" r:id="rId86"/>
    <p:sldLayoutId id="2147483945" r:id="rId87"/>
    <p:sldLayoutId id="2147483946" r:id="rId88"/>
    <p:sldLayoutId id="2147483947" r:id="rId89"/>
    <p:sldLayoutId id="2147483948" r:id="rId90"/>
    <p:sldLayoutId id="2147483949" r:id="rId91"/>
    <p:sldLayoutId id="2147483950" r:id="rId92"/>
    <p:sldLayoutId id="2147483951" r:id="rId93"/>
    <p:sldLayoutId id="2147483952" r:id="rId94"/>
    <p:sldLayoutId id="2147483953" r:id="rId95"/>
    <p:sldLayoutId id="2147483954" r:id="rId96"/>
    <p:sldLayoutId id="2147483955" r:id="rId97"/>
    <p:sldLayoutId id="2147483956" r:id="rId98"/>
    <p:sldLayoutId id="2147483957" r:id="rId99"/>
    <p:sldLayoutId id="2147483958" r:id="rId100"/>
    <p:sldLayoutId id="2147483959" r:id="rId101"/>
    <p:sldLayoutId id="2147483960" r:id="rId102"/>
    <p:sldLayoutId id="2147483961" r:id="rId103"/>
    <p:sldLayoutId id="2147483962" r:id="rId104"/>
    <p:sldLayoutId id="2147483963" r:id="rId105"/>
    <p:sldLayoutId id="2147483964" r:id="rId106"/>
    <p:sldLayoutId id="2147483965" r:id="rId107"/>
    <p:sldLayoutId id="2147483966" r:id="rId108"/>
    <p:sldLayoutId id="2147483967" r:id="rId109"/>
    <p:sldLayoutId id="2147483968" r:id="rId110"/>
    <p:sldLayoutId id="2147483969" r:id="rId111"/>
    <p:sldLayoutId id="2147483970" r:id="rId112"/>
    <p:sldLayoutId id="2147483971" r:id="rId113"/>
    <p:sldLayoutId id="2147483972" r:id="rId114"/>
    <p:sldLayoutId id="2147483973" r:id="rId115"/>
    <p:sldLayoutId id="2147483974" r:id="rId116"/>
    <p:sldLayoutId id="2147483975" r:id="rId117"/>
    <p:sldLayoutId id="2147483976" r:id="rId118"/>
    <p:sldLayoutId id="2147483977" r:id="rId119"/>
    <p:sldLayoutId id="2147483978" r:id="rId120"/>
    <p:sldLayoutId id="2147483979" r:id="rId121"/>
    <p:sldLayoutId id="2147483980" r:id="rId122"/>
    <p:sldLayoutId id="2147483981" r:id="rId123"/>
    <p:sldLayoutId id="2147483982" r:id="rId124"/>
    <p:sldLayoutId id="2147483983" r:id="rId125"/>
    <p:sldLayoutId id="2147483984" r:id="rId126"/>
    <p:sldLayoutId id="2147483985" r:id="rId127"/>
    <p:sldLayoutId id="2147483986" r:id="rId128"/>
    <p:sldLayoutId id="2147483987" r:id="rId129"/>
    <p:sldLayoutId id="2147483988" r:id="rId130"/>
    <p:sldLayoutId id="2147483989" r:id="rId131"/>
    <p:sldLayoutId id="2147483990" r:id="rId132"/>
    <p:sldLayoutId id="2147483991" r:id="rId133"/>
    <p:sldLayoutId id="2147483992" r:id="rId134"/>
    <p:sldLayoutId id="2147483993" r:id="rId135"/>
    <p:sldLayoutId id="2147483994" r:id="rId136"/>
    <p:sldLayoutId id="2147483995" r:id="rId137"/>
    <p:sldLayoutId id="2147483996" r:id="rId138"/>
    <p:sldLayoutId id="2147483997" r:id="rId139"/>
    <p:sldLayoutId id="2147483998" r:id="rId140"/>
    <p:sldLayoutId id="2147483999" r:id="rId141"/>
    <p:sldLayoutId id="2147484000" r:id="rId142"/>
    <p:sldLayoutId id="2147484001" r:id="rId143"/>
    <p:sldLayoutId id="2147484002" r:id="rId144"/>
    <p:sldLayoutId id="2147484003" r:id="rId145"/>
    <p:sldLayoutId id="2147484004" r:id="rId146"/>
    <p:sldLayoutId id="2147484005" r:id="rId147"/>
    <p:sldLayoutId id="2147484006" r:id="rId148"/>
    <p:sldLayoutId id="2147484007" r:id="rId149"/>
    <p:sldLayoutId id="2147484008" r:id="rId150"/>
    <p:sldLayoutId id="2147484009" r:id="rId151"/>
    <p:sldLayoutId id="2147484010" r:id="rId152"/>
    <p:sldLayoutId id="2147484011" r:id="rId153"/>
    <p:sldLayoutId id="2147484012" r:id="rId154"/>
    <p:sldLayoutId id="2147484013" r:id="rId155"/>
    <p:sldLayoutId id="2147484014" r:id="rId156"/>
    <p:sldLayoutId id="2147484015" r:id="rId157"/>
    <p:sldLayoutId id="2147484016" r:id="rId158"/>
    <p:sldLayoutId id="2147484017" r:id="rId159"/>
    <p:sldLayoutId id="2147484018" r:id="rId160"/>
    <p:sldLayoutId id="2147484019" r:id="rId161"/>
    <p:sldLayoutId id="2147484020" r:id="rId162"/>
    <p:sldLayoutId id="2147484022" r:id="rId163"/>
    <p:sldLayoutId id="2147484023" r:id="rId164"/>
    <p:sldLayoutId id="2147484024" r:id="rId165"/>
  </p:sldLayoutIdLst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4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4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80">
          <p15:clr>
            <a:srgbClr val="F26B43"/>
          </p15:clr>
        </p15:guide>
        <p15:guide id="2" pos="5120">
          <p15:clr>
            <a:srgbClr val="F26B43"/>
          </p15:clr>
        </p15:guide>
        <p15:guide id="3" pos="512">
          <p15:clr>
            <a:srgbClr val="F26B43"/>
          </p15:clr>
        </p15:guide>
        <p15:guide id="4" pos="972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5" name="Group 144">
            <a:extLst>
              <a:ext uri="{FF2B5EF4-FFF2-40B4-BE49-F238E27FC236}">
                <a16:creationId xmlns:a16="http://schemas.microsoft.com/office/drawing/2014/main" id="{B019F6A2-9905-36FD-010A-05886791271D}"/>
              </a:ext>
            </a:extLst>
          </p:cNvPr>
          <p:cNvGrpSpPr/>
          <p:nvPr userDrawn="1"/>
        </p:nvGrpSpPr>
        <p:grpSpPr>
          <a:xfrm>
            <a:off x="-8318" y="1426088"/>
            <a:ext cx="4070045" cy="4819763"/>
            <a:chOff x="-8318" y="1426088"/>
            <a:chExt cx="4070045" cy="4819763"/>
          </a:xfrm>
          <a:solidFill>
            <a:schemeClr val="accent2">
              <a:alpha val="2000"/>
            </a:schemeClr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8F244094-77CF-BEE3-FAB8-B302AEAE6ADC}"/>
                </a:ext>
              </a:extLst>
            </p:cNvPr>
            <p:cNvSpPr/>
            <p:nvPr/>
          </p:nvSpPr>
          <p:spPr>
            <a:xfrm>
              <a:off x="-8318" y="1426088"/>
              <a:ext cx="3959116" cy="1664181"/>
            </a:xfrm>
            <a:custGeom>
              <a:avLst/>
              <a:gdLst>
                <a:gd name="connsiteX0" fmla="*/ 1666376 w 3959116"/>
                <a:gd name="connsiteY0" fmla="*/ 104 h 1664181"/>
                <a:gd name="connsiteX1" fmla="*/ 3959116 w 3959116"/>
                <a:gd name="connsiteY1" fmla="*/ 1651859 h 1664181"/>
                <a:gd name="connsiteX2" fmla="*/ 3959116 w 3959116"/>
                <a:gd name="connsiteY2" fmla="*/ 1664181 h 1664181"/>
                <a:gd name="connsiteX3" fmla="*/ 3798866 w 3959116"/>
                <a:gd name="connsiteY3" fmla="*/ 1664181 h 1664181"/>
                <a:gd name="connsiteX4" fmla="*/ 3798866 w 3959116"/>
                <a:gd name="connsiteY4" fmla="*/ 1651859 h 1664181"/>
                <a:gd name="connsiteX5" fmla="*/ 1654055 w 3959116"/>
                <a:gd name="connsiteY5" fmla="*/ 135693 h 1664181"/>
                <a:gd name="connsiteX6" fmla="*/ 53152 w 3959116"/>
                <a:gd name="connsiteY6" fmla="*/ 798243 h 1664181"/>
                <a:gd name="connsiteX7" fmla="*/ 0 w 3959116"/>
                <a:gd name="connsiteY7" fmla="*/ 856498 h 1664181"/>
                <a:gd name="connsiteX8" fmla="*/ 0 w 3959116"/>
                <a:gd name="connsiteY8" fmla="*/ 651533 h 1664181"/>
                <a:gd name="connsiteX9" fmla="*/ 120724 w 3959116"/>
                <a:gd name="connsiteY9" fmla="*/ 542652 h 1664181"/>
                <a:gd name="connsiteX10" fmla="*/ 1666376 w 3959116"/>
                <a:gd name="connsiteY10" fmla="*/ 104 h 1664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59116" h="1664181">
                  <a:moveTo>
                    <a:pt x="1666376" y="104"/>
                  </a:moveTo>
                  <a:cubicBezTo>
                    <a:pt x="2701808" y="104"/>
                    <a:pt x="3626294" y="665731"/>
                    <a:pt x="3959116" y="1651859"/>
                  </a:cubicBezTo>
                  <a:lnTo>
                    <a:pt x="3959116" y="1664181"/>
                  </a:lnTo>
                  <a:lnTo>
                    <a:pt x="3798866" y="1664181"/>
                  </a:lnTo>
                  <a:lnTo>
                    <a:pt x="3798866" y="1651859"/>
                  </a:lnTo>
                  <a:cubicBezTo>
                    <a:pt x="3478382" y="739696"/>
                    <a:pt x="2615522" y="135693"/>
                    <a:pt x="1654055" y="135693"/>
                  </a:cubicBezTo>
                  <a:cubicBezTo>
                    <a:pt x="1031571" y="135693"/>
                    <a:pt x="464551" y="388386"/>
                    <a:pt x="53152" y="798243"/>
                  </a:cubicBezTo>
                  <a:lnTo>
                    <a:pt x="0" y="856498"/>
                  </a:lnTo>
                  <a:lnTo>
                    <a:pt x="0" y="651533"/>
                  </a:lnTo>
                  <a:lnTo>
                    <a:pt x="120724" y="542652"/>
                  </a:lnTo>
                  <a:cubicBezTo>
                    <a:pt x="540291" y="199303"/>
                    <a:pt x="1078562" y="-5287"/>
                    <a:pt x="1666376" y="104"/>
                  </a:cubicBezTo>
                  <a:close/>
                </a:path>
              </a:pathLst>
            </a:custGeom>
            <a:grpFill/>
            <a:ln w="69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584E930D-601C-6F5E-8BBE-E1A08254A3F0}"/>
                </a:ext>
              </a:extLst>
            </p:cNvPr>
            <p:cNvSpPr/>
            <p:nvPr/>
          </p:nvSpPr>
          <p:spPr>
            <a:xfrm>
              <a:off x="-8318" y="3534020"/>
              <a:ext cx="4070045" cy="2711831"/>
            </a:xfrm>
            <a:custGeom>
              <a:avLst/>
              <a:gdLst>
                <a:gd name="connsiteX0" fmla="*/ 1678715 w 4070045"/>
                <a:gd name="connsiteY0" fmla="*/ 0 h 2711831"/>
                <a:gd name="connsiteX1" fmla="*/ 4057724 w 4070045"/>
                <a:gd name="connsiteY1" fmla="*/ 12322 h 2711831"/>
                <a:gd name="connsiteX2" fmla="*/ 4070045 w 4070045"/>
                <a:gd name="connsiteY2" fmla="*/ 295841 h 2711831"/>
                <a:gd name="connsiteX3" fmla="*/ 1654055 w 4070045"/>
                <a:gd name="connsiteY3" fmla="*/ 2711831 h 2711831"/>
                <a:gd name="connsiteX4" fmla="*/ 118531 w 4070045"/>
                <a:gd name="connsiteY4" fmla="*/ 2159148 h 2711831"/>
                <a:gd name="connsiteX5" fmla="*/ 0 w 4070045"/>
                <a:gd name="connsiteY5" fmla="*/ 2051387 h 2711831"/>
                <a:gd name="connsiteX6" fmla="*/ 0 w 4070045"/>
                <a:gd name="connsiteY6" fmla="*/ 1843116 h 2711831"/>
                <a:gd name="connsiteX7" fmla="*/ 53152 w 4070045"/>
                <a:gd name="connsiteY7" fmla="*/ 1901371 h 2711831"/>
                <a:gd name="connsiteX8" fmla="*/ 1654055 w 4070045"/>
                <a:gd name="connsiteY8" fmla="*/ 2563920 h 2711831"/>
                <a:gd name="connsiteX9" fmla="*/ 3922134 w 4070045"/>
                <a:gd name="connsiteY9" fmla="*/ 295841 h 2711831"/>
                <a:gd name="connsiteX10" fmla="*/ 3922134 w 4070045"/>
                <a:gd name="connsiteY10" fmla="*/ 147912 h 2711831"/>
                <a:gd name="connsiteX11" fmla="*/ 1678715 w 4070045"/>
                <a:gd name="connsiteY11" fmla="*/ 147912 h 2711831"/>
                <a:gd name="connsiteX12" fmla="*/ 1678715 w 4070045"/>
                <a:gd name="connsiteY12" fmla="*/ 0 h 2711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070045" h="2711831">
                  <a:moveTo>
                    <a:pt x="1678715" y="0"/>
                  </a:moveTo>
                  <a:lnTo>
                    <a:pt x="4057724" y="12322"/>
                  </a:lnTo>
                  <a:cubicBezTo>
                    <a:pt x="4070045" y="110947"/>
                    <a:pt x="4070045" y="197233"/>
                    <a:pt x="4070045" y="295841"/>
                  </a:cubicBezTo>
                  <a:cubicBezTo>
                    <a:pt x="4070045" y="1627095"/>
                    <a:pt x="2985327" y="2711831"/>
                    <a:pt x="1654055" y="2711831"/>
                  </a:cubicBezTo>
                  <a:cubicBezTo>
                    <a:pt x="1071631" y="2711831"/>
                    <a:pt x="536392" y="2504206"/>
                    <a:pt x="118531" y="2159148"/>
                  </a:cubicBezTo>
                  <a:lnTo>
                    <a:pt x="0" y="2051387"/>
                  </a:lnTo>
                  <a:lnTo>
                    <a:pt x="0" y="1843116"/>
                  </a:lnTo>
                  <a:lnTo>
                    <a:pt x="53152" y="1901371"/>
                  </a:lnTo>
                  <a:cubicBezTo>
                    <a:pt x="464551" y="2311227"/>
                    <a:pt x="1031571" y="2563920"/>
                    <a:pt x="1654055" y="2563920"/>
                  </a:cubicBezTo>
                  <a:cubicBezTo>
                    <a:pt x="2899041" y="2563920"/>
                    <a:pt x="3922134" y="1553149"/>
                    <a:pt x="3922134" y="295841"/>
                  </a:cubicBezTo>
                  <a:cubicBezTo>
                    <a:pt x="3922134" y="246537"/>
                    <a:pt x="3922134" y="197233"/>
                    <a:pt x="3922134" y="147912"/>
                  </a:cubicBezTo>
                  <a:lnTo>
                    <a:pt x="1678715" y="147912"/>
                  </a:lnTo>
                  <a:lnTo>
                    <a:pt x="1678715" y="0"/>
                  </a:lnTo>
                  <a:close/>
                </a:path>
              </a:pathLst>
            </a:custGeom>
            <a:grpFill/>
            <a:ln w="69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4CD42581-CC8E-8F3D-7C61-84880FDD7973}"/>
                </a:ext>
              </a:extLst>
            </p:cNvPr>
            <p:cNvSpPr/>
            <p:nvPr/>
          </p:nvSpPr>
          <p:spPr>
            <a:xfrm>
              <a:off x="67945" y="2227408"/>
              <a:ext cx="3106261" cy="3155582"/>
            </a:xfrm>
            <a:custGeom>
              <a:avLst/>
              <a:gdLst>
                <a:gd name="connsiteX0" fmla="*/ 88868 w 174958"/>
                <a:gd name="connsiteY0" fmla="*/ 9026 h 177736"/>
                <a:gd name="connsiteX1" fmla="*/ 157602 w 174958"/>
                <a:gd name="connsiteY1" fmla="*/ 47211 h 177736"/>
                <a:gd name="connsiteX2" fmla="*/ 157602 w 174958"/>
                <a:gd name="connsiteY2" fmla="*/ 47211 h 177736"/>
                <a:gd name="connsiteX3" fmla="*/ 167322 w 174958"/>
                <a:gd name="connsiteY3" fmla="*/ 47211 h 177736"/>
                <a:gd name="connsiteX4" fmla="*/ 166628 w 174958"/>
                <a:gd name="connsiteY4" fmla="*/ 45823 h 177736"/>
                <a:gd name="connsiteX5" fmla="*/ 88868 w 174958"/>
                <a:gd name="connsiteY5" fmla="*/ 0 h 177736"/>
                <a:gd name="connsiteX6" fmla="*/ 0 w 174958"/>
                <a:gd name="connsiteY6" fmla="*/ 88868 h 177736"/>
                <a:gd name="connsiteX7" fmla="*/ 88868 w 174958"/>
                <a:gd name="connsiteY7" fmla="*/ 177736 h 177736"/>
                <a:gd name="connsiteX8" fmla="*/ 174959 w 174958"/>
                <a:gd name="connsiteY8" fmla="*/ 112474 h 177736"/>
                <a:gd name="connsiteX9" fmla="*/ 174959 w 174958"/>
                <a:gd name="connsiteY9" fmla="*/ 111779 h 177736"/>
                <a:gd name="connsiteX10" fmla="*/ 90257 w 174958"/>
                <a:gd name="connsiteY10" fmla="*/ 111779 h 177736"/>
                <a:gd name="connsiteX11" fmla="*/ 90257 w 174958"/>
                <a:gd name="connsiteY11" fmla="*/ 121499 h 177736"/>
                <a:gd name="connsiteX12" fmla="*/ 163850 w 174958"/>
                <a:gd name="connsiteY12" fmla="*/ 121499 h 177736"/>
                <a:gd name="connsiteX13" fmla="*/ 89562 w 174958"/>
                <a:gd name="connsiteY13" fmla="*/ 171488 h 177736"/>
                <a:gd name="connsiteX14" fmla="*/ 8331 w 174958"/>
                <a:gd name="connsiteY14" fmla="*/ 90257 h 177736"/>
                <a:gd name="connsiteX15" fmla="*/ 88868 w 174958"/>
                <a:gd name="connsiteY15" fmla="*/ 9026 h 177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4958" h="177736">
                  <a:moveTo>
                    <a:pt x="88868" y="9026"/>
                  </a:moveTo>
                  <a:cubicBezTo>
                    <a:pt x="117334" y="9026"/>
                    <a:pt x="143022" y="23606"/>
                    <a:pt x="157602" y="47211"/>
                  </a:cubicBezTo>
                  <a:lnTo>
                    <a:pt x="157602" y="47211"/>
                  </a:lnTo>
                  <a:lnTo>
                    <a:pt x="167322" y="47211"/>
                  </a:lnTo>
                  <a:lnTo>
                    <a:pt x="166628" y="45823"/>
                  </a:lnTo>
                  <a:cubicBezTo>
                    <a:pt x="150659" y="17357"/>
                    <a:pt x="120805" y="0"/>
                    <a:pt x="88868" y="0"/>
                  </a:cubicBezTo>
                  <a:cubicBezTo>
                    <a:pt x="39574" y="0"/>
                    <a:pt x="0" y="40268"/>
                    <a:pt x="0" y="88868"/>
                  </a:cubicBezTo>
                  <a:cubicBezTo>
                    <a:pt x="0" y="137468"/>
                    <a:pt x="40268" y="177736"/>
                    <a:pt x="88868" y="177736"/>
                  </a:cubicBezTo>
                  <a:cubicBezTo>
                    <a:pt x="129136" y="177736"/>
                    <a:pt x="163850" y="150659"/>
                    <a:pt x="174959" y="112474"/>
                  </a:cubicBezTo>
                  <a:lnTo>
                    <a:pt x="174959" y="111779"/>
                  </a:lnTo>
                  <a:lnTo>
                    <a:pt x="90257" y="111779"/>
                  </a:lnTo>
                  <a:lnTo>
                    <a:pt x="90257" y="121499"/>
                  </a:lnTo>
                  <a:lnTo>
                    <a:pt x="163850" y="121499"/>
                  </a:lnTo>
                  <a:cubicBezTo>
                    <a:pt x="151353" y="152048"/>
                    <a:pt x="122194" y="171488"/>
                    <a:pt x="89562" y="171488"/>
                  </a:cubicBezTo>
                  <a:cubicBezTo>
                    <a:pt x="44434" y="171488"/>
                    <a:pt x="8331" y="134691"/>
                    <a:pt x="8331" y="90257"/>
                  </a:cubicBezTo>
                  <a:cubicBezTo>
                    <a:pt x="8331" y="45823"/>
                    <a:pt x="44434" y="9026"/>
                    <a:pt x="88868" y="9026"/>
                  </a:cubicBezTo>
                  <a:close/>
                </a:path>
              </a:pathLst>
            </a:custGeom>
            <a:grpFill/>
            <a:ln w="69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8635FBE0-0015-33FC-7E19-7073817EB680}"/>
                </a:ext>
              </a:extLst>
            </p:cNvPr>
            <p:cNvSpPr/>
            <p:nvPr userDrawn="1"/>
          </p:nvSpPr>
          <p:spPr>
            <a:xfrm>
              <a:off x="-8318" y="1820638"/>
              <a:ext cx="3515346" cy="1257308"/>
            </a:xfrm>
            <a:custGeom>
              <a:avLst/>
              <a:gdLst>
                <a:gd name="connsiteX0" fmla="*/ 1654054 w 3515346"/>
                <a:gd name="connsiteY0" fmla="*/ 0 h 1257308"/>
                <a:gd name="connsiteX1" fmla="*/ 3503025 w 3515346"/>
                <a:gd name="connsiteY1" fmla="*/ 1244969 h 1257308"/>
                <a:gd name="connsiteX2" fmla="*/ 3515346 w 3515346"/>
                <a:gd name="connsiteY2" fmla="*/ 1257308 h 1257308"/>
                <a:gd name="connsiteX3" fmla="*/ 3355114 w 3515346"/>
                <a:gd name="connsiteY3" fmla="*/ 1257308 h 1257308"/>
                <a:gd name="connsiteX4" fmla="*/ 1666376 w 3515346"/>
                <a:gd name="connsiteY4" fmla="*/ 147911 h 1257308"/>
                <a:gd name="connsiteX5" fmla="*/ 30713 w 3515346"/>
                <a:gd name="connsiteY5" fmla="*/ 1124173 h 1257308"/>
                <a:gd name="connsiteX6" fmla="*/ 0 w 3515346"/>
                <a:gd name="connsiteY6" fmla="*/ 1187649 h 1257308"/>
                <a:gd name="connsiteX7" fmla="*/ 0 w 3515346"/>
                <a:gd name="connsiteY7" fmla="*/ 869995 h 1257308"/>
                <a:gd name="connsiteX8" fmla="*/ 103733 w 3515346"/>
                <a:gd name="connsiteY8" fmla="*/ 731288 h 1257308"/>
                <a:gd name="connsiteX9" fmla="*/ 1654054 w 3515346"/>
                <a:gd name="connsiteY9" fmla="*/ 0 h 1257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15346" h="1257308">
                  <a:moveTo>
                    <a:pt x="1654054" y="0"/>
                  </a:moveTo>
                  <a:cubicBezTo>
                    <a:pt x="2467593" y="0"/>
                    <a:pt x="3194863" y="493055"/>
                    <a:pt x="3503025" y="1244969"/>
                  </a:cubicBezTo>
                  <a:lnTo>
                    <a:pt x="3515346" y="1257308"/>
                  </a:lnTo>
                  <a:lnTo>
                    <a:pt x="3355114" y="1257308"/>
                  </a:lnTo>
                  <a:cubicBezTo>
                    <a:pt x="3059273" y="579342"/>
                    <a:pt x="2393646" y="147911"/>
                    <a:pt x="1666376" y="147911"/>
                  </a:cubicBezTo>
                  <a:cubicBezTo>
                    <a:pt x="963000" y="147911"/>
                    <a:pt x="347014" y="544100"/>
                    <a:pt x="30713" y="1124173"/>
                  </a:cubicBezTo>
                  <a:lnTo>
                    <a:pt x="0" y="1187649"/>
                  </a:lnTo>
                  <a:lnTo>
                    <a:pt x="0" y="869995"/>
                  </a:lnTo>
                  <a:lnTo>
                    <a:pt x="103733" y="731288"/>
                  </a:lnTo>
                  <a:cubicBezTo>
                    <a:pt x="472301" y="284716"/>
                    <a:pt x="1030028" y="0"/>
                    <a:pt x="165405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marL="228600" indent="-228600" algn="ctr">
                <a:buFont typeface="Arial" pitchFamily="34" charset="0"/>
                <a:buChar char="•"/>
              </a:pPr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9792654-AD02-76EF-1D68-50F56B14E085}"/>
                </a:ext>
              </a:extLst>
            </p:cNvPr>
            <p:cNvSpPr/>
            <p:nvPr userDrawn="1"/>
          </p:nvSpPr>
          <p:spPr>
            <a:xfrm>
              <a:off x="-8318" y="3891485"/>
              <a:ext cx="3650954" cy="1947596"/>
            </a:xfrm>
            <a:custGeom>
              <a:avLst/>
              <a:gdLst>
                <a:gd name="connsiteX0" fmla="*/ 1333571 w 3650954"/>
                <a:gd name="connsiteY0" fmla="*/ 0 h 1947596"/>
                <a:gd name="connsiteX1" fmla="*/ 3650954 w 3650954"/>
                <a:gd name="connsiteY1" fmla="*/ 0 h 1947596"/>
                <a:gd name="connsiteX2" fmla="*/ 3650954 w 3650954"/>
                <a:gd name="connsiteY2" fmla="*/ 12339 h 1947596"/>
                <a:gd name="connsiteX3" fmla="*/ 3046952 w 3650954"/>
                <a:gd name="connsiteY3" fmla="*/ 1380576 h 1947596"/>
                <a:gd name="connsiteX4" fmla="*/ 1654054 w 3650954"/>
                <a:gd name="connsiteY4" fmla="*/ 1947596 h 1947596"/>
                <a:gd name="connsiteX5" fmla="*/ 103733 w 3650954"/>
                <a:gd name="connsiteY5" fmla="*/ 1216308 h 1947596"/>
                <a:gd name="connsiteX6" fmla="*/ 0 w 3650954"/>
                <a:gd name="connsiteY6" fmla="*/ 1077603 h 1947596"/>
                <a:gd name="connsiteX7" fmla="*/ 0 w 3650954"/>
                <a:gd name="connsiteY7" fmla="*/ 759947 h 1947596"/>
                <a:gd name="connsiteX8" fmla="*/ 30713 w 3650954"/>
                <a:gd name="connsiteY8" fmla="*/ 823423 h 1947596"/>
                <a:gd name="connsiteX9" fmla="*/ 1666376 w 3650954"/>
                <a:gd name="connsiteY9" fmla="*/ 1799685 h 1947596"/>
                <a:gd name="connsiteX10" fmla="*/ 2911362 w 3650954"/>
                <a:gd name="connsiteY10" fmla="*/ 1318951 h 1947596"/>
                <a:gd name="connsiteX11" fmla="*/ 3503025 w 3650954"/>
                <a:gd name="connsiteY11" fmla="*/ 147929 h 1947596"/>
                <a:gd name="connsiteX12" fmla="*/ 1333571 w 3650954"/>
                <a:gd name="connsiteY12" fmla="*/ 147929 h 1947596"/>
                <a:gd name="connsiteX13" fmla="*/ 1333571 w 3650954"/>
                <a:gd name="connsiteY13" fmla="*/ 0 h 1947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50954" h="1947596">
                  <a:moveTo>
                    <a:pt x="1333571" y="0"/>
                  </a:moveTo>
                  <a:lnTo>
                    <a:pt x="3650954" y="0"/>
                  </a:lnTo>
                  <a:lnTo>
                    <a:pt x="3650954" y="12339"/>
                  </a:lnTo>
                  <a:cubicBezTo>
                    <a:pt x="3638615" y="530055"/>
                    <a:pt x="3416739" y="1010789"/>
                    <a:pt x="3046952" y="1380576"/>
                  </a:cubicBezTo>
                  <a:cubicBezTo>
                    <a:pt x="2677147" y="1750363"/>
                    <a:pt x="2171770" y="1947596"/>
                    <a:pt x="1654054" y="1947596"/>
                  </a:cubicBezTo>
                  <a:cubicBezTo>
                    <a:pt x="1030028" y="1947596"/>
                    <a:pt x="472301" y="1662880"/>
                    <a:pt x="103733" y="1216308"/>
                  </a:cubicBezTo>
                  <a:lnTo>
                    <a:pt x="0" y="1077603"/>
                  </a:lnTo>
                  <a:lnTo>
                    <a:pt x="0" y="759947"/>
                  </a:lnTo>
                  <a:lnTo>
                    <a:pt x="30713" y="823423"/>
                  </a:lnTo>
                  <a:cubicBezTo>
                    <a:pt x="347014" y="1403496"/>
                    <a:pt x="963000" y="1799685"/>
                    <a:pt x="1666376" y="1799685"/>
                  </a:cubicBezTo>
                  <a:cubicBezTo>
                    <a:pt x="2122467" y="1799685"/>
                    <a:pt x="2566218" y="1627113"/>
                    <a:pt x="2911362" y="1318951"/>
                  </a:cubicBezTo>
                  <a:cubicBezTo>
                    <a:pt x="3244167" y="1010789"/>
                    <a:pt x="3453721" y="604002"/>
                    <a:pt x="3503025" y="147929"/>
                  </a:cubicBezTo>
                  <a:lnTo>
                    <a:pt x="1333571" y="147929"/>
                  </a:lnTo>
                  <a:lnTo>
                    <a:pt x="1333571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marL="228600" indent="-228600" algn="ctr">
                <a:buFont typeface="Arial" pitchFamily="34" charset="0"/>
                <a:buChar char="•"/>
              </a:pPr>
              <a:endParaRPr lang="en-GB" sz="1400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02BA17-BD4D-499A-9F13-D64A4B2CF429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968879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53" imgH="353" progId="TCLayout.ActiveDocument.1">
                  <p:embed/>
                </p:oleObj>
              </mc:Choice>
              <mc:Fallback>
                <p:oleObj name="think-cell Slide" r:id="rId21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02BA17-BD4D-499A-9F13-D64A4B2CF4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>
          <a:xfrm>
            <a:off x="694944" y="301752"/>
            <a:ext cx="10789920" cy="429768"/>
          </a:xfrm>
          <a:prstGeom prst="rect">
            <a:avLst/>
          </a:prstGeom>
        </p:spPr>
        <p:txBody>
          <a:bodyPr vert="horz" lIns="0" tIns="0" rIns="0" bIns="45720" rtlCol="0" anchor="b" anchorCtr="0">
            <a:noAutofit/>
          </a:bodyPr>
          <a:lstStyle/>
          <a:p>
            <a:r>
              <a:rPr lang="en-US"/>
              <a:t>Click To Edit Master Title Style 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694944" y="1435608"/>
            <a:ext cx="10789920" cy="473659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692908" y="-381000"/>
            <a:ext cx="10800080" cy="254794"/>
            <a:chOff x="519681" y="1435608"/>
            <a:chExt cx="8100060" cy="254794"/>
          </a:xfrm>
        </p:grpSpPr>
        <p:cxnSp>
          <p:nvCxnSpPr>
            <p:cNvPr id="36" name="Straight Connector 35"/>
            <p:cNvCxnSpPr/>
            <p:nvPr userDrawn="1"/>
          </p:nvCxnSpPr>
          <p:spPr>
            <a:xfrm>
              <a:off x="3087621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3282694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853681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6048754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8619741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519681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oup 47"/>
          <p:cNvGrpSpPr/>
          <p:nvPr/>
        </p:nvGrpSpPr>
        <p:grpSpPr>
          <a:xfrm>
            <a:off x="12423944" y="731521"/>
            <a:ext cx="336000" cy="5621655"/>
            <a:chOff x="269208" y="731520"/>
            <a:chExt cx="252000" cy="5621655"/>
          </a:xfrm>
        </p:grpSpPr>
        <p:cxnSp>
          <p:nvCxnSpPr>
            <p:cNvPr id="49" name="Straight Connector 48"/>
            <p:cNvCxnSpPr/>
            <p:nvPr userDrawn="1"/>
          </p:nvCxnSpPr>
          <p:spPr>
            <a:xfrm>
              <a:off x="269208" y="731520"/>
              <a:ext cx="252000" cy="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 userDrawn="1"/>
          </p:nvCxnSpPr>
          <p:spPr>
            <a:xfrm>
              <a:off x="269208" y="1426083"/>
              <a:ext cx="252000" cy="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 userDrawn="1"/>
          </p:nvCxnSpPr>
          <p:spPr>
            <a:xfrm>
              <a:off x="269208" y="6353175"/>
              <a:ext cx="252000" cy="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>
              <a:off x="269208" y="3721608"/>
              <a:ext cx="252000" cy="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>
              <a:off x="269208" y="3874008"/>
              <a:ext cx="252000" cy="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oup 53"/>
          <p:cNvGrpSpPr/>
          <p:nvPr/>
        </p:nvGrpSpPr>
        <p:grpSpPr>
          <a:xfrm>
            <a:off x="692908" y="6991350"/>
            <a:ext cx="10800080" cy="254794"/>
            <a:chOff x="519681" y="1435608"/>
            <a:chExt cx="8100060" cy="254794"/>
          </a:xfrm>
        </p:grpSpPr>
        <p:cxnSp>
          <p:nvCxnSpPr>
            <p:cNvPr id="55" name="Straight Connector 54"/>
            <p:cNvCxnSpPr/>
            <p:nvPr userDrawn="1"/>
          </p:nvCxnSpPr>
          <p:spPr>
            <a:xfrm>
              <a:off x="3087621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 userDrawn="1"/>
          </p:nvCxnSpPr>
          <p:spPr>
            <a:xfrm>
              <a:off x="3282694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 userDrawn="1"/>
          </p:nvCxnSpPr>
          <p:spPr>
            <a:xfrm>
              <a:off x="5853681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>
            <a:xfrm>
              <a:off x="6048754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 userDrawn="1"/>
          </p:nvCxnSpPr>
          <p:spPr>
            <a:xfrm>
              <a:off x="8619741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 userDrawn="1"/>
          </p:nvCxnSpPr>
          <p:spPr>
            <a:xfrm>
              <a:off x="519681" y="1435608"/>
              <a:ext cx="0" cy="254794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BCA1602-0E93-4C53-B2FD-430FBBCB6902}"/>
              </a:ext>
            </a:extLst>
          </p:cNvPr>
          <p:cNvCxnSpPr>
            <a:cxnSpLocks/>
          </p:cNvCxnSpPr>
          <p:nvPr/>
        </p:nvCxnSpPr>
        <p:spPr>
          <a:xfrm>
            <a:off x="692908" y="731520"/>
            <a:ext cx="10800080" cy="0"/>
          </a:xfrm>
          <a:prstGeom prst="line">
            <a:avLst/>
          </a:prstGeom>
          <a:ln w="38100">
            <a:solidFill>
              <a:schemeClr val="accent2"/>
            </a:solidFill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E9DDC34-32E4-D9AA-EAAB-426BF9214C15}"/>
              </a:ext>
            </a:extLst>
          </p:cNvPr>
          <p:cNvCxnSpPr>
            <a:cxnSpLocks/>
          </p:cNvCxnSpPr>
          <p:nvPr/>
        </p:nvCxnSpPr>
        <p:spPr>
          <a:xfrm>
            <a:off x="11267246" y="6516669"/>
            <a:ext cx="0" cy="252331"/>
          </a:xfrm>
          <a:prstGeom prst="line">
            <a:avLst/>
          </a:prstGeom>
          <a:ln w="19050">
            <a:solidFill>
              <a:schemeClr val="accent2">
                <a:alpha val="85000"/>
              </a:schemeClr>
            </a:solidFill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684AEACE-03A5-FB5C-F858-17EDDE0E91A7}"/>
              </a:ext>
            </a:extLst>
          </p:cNvPr>
          <p:cNvPicPr>
            <a:picLocks noChangeAspect="1"/>
          </p:cNvPicPr>
          <p:nvPr userDrawn="1">
            <p:custDataLst>
              <p:tags r:id="rId18"/>
            </p:custDataLst>
          </p:nvPr>
        </p:nvPicPr>
        <p:blipFill>
          <a:blip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788801" y="6507449"/>
            <a:ext cx="1319135" cy="27077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0BBE69AD-361D-398F-904A-8E8704800641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1132742" y="6565890"/>
            <a:ext cx="40975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 defTabSz="914164" rtl="0" eaLnBrk="1" latinLnBrk="0" hangingPunct="1">
              <a:buFont typeface="Arial" pitchFamily="34" charset="0"/>
              <a:buNone/>
            </a:pPr>
            <a:fld id="{790FC2AF-B194-488D-8ACC-F2E58C812CDE}" type="slidenum">
              <a:rPr lang="en-US" sz="10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indent="0" algn="r" defTabSz="914164" rtl="0" eaLnBrk="1" latinLnBrk="0" hangingPunct="1">
                <a:buFont typeface="Arial" pitchFamily="34" charset="0"/>
                <a:buNone/>
              </a:pPr>
              <a:t>‹#›</a:t>
            </a:fld>
            <a:endParaRPr lang="en-US" sz="1000" kern="120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5" name="Picture 4" descr="WB_Final_approved.png">
            <a:extLst>
              <a:ext uri="{FF2B5EF4-FFF2-40B4-BE49-F238E27FC236}">
                <a16:creationId xmlns:a16="http://schemas.microsoft.com/office/drawing/2014/main" id="{D29D96B2-BA1C-02FB-5DC3-EBE7BA5EE2F2}"/>
              </a:ext>
            </a:extLst>
          </p:cNvPr>
          <p:cNvPicPr>
            <a:picLocks noChangeAspect="1"/>
          </p:cNvPicPr>
          <p:nvPr userDrawn="1">
            <p:custDataLst>
              <p:tags r:id="rId20"/>
            </p:custDataLst>
          </p:nvPr>
        </p:nvPicPr>
        <p:blipFill>
          <a:blip r:embed="rId24" cstate="print"/>
          <a:stretch>
            <a:fillRect/>
          </a:stretch>
        </p:blipFill>
        <p:spPr>
          <a:xfrm>
            <a:off x="329941" y="6605996"/>
            <a:ext cx="744618" cy="13446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FC31660-9F87-379E-BEA4-2863EED115BE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1110835" y="6620158"/>
            <a:ext cx="493685" cy="106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672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4" r:id="rId1"/>
    <p:sldLayoutId id="2147484055" r:id="rId2"/>
    <p:sldLayoutId id="2147484056" r:id="rId3"/>
    <p:sldLayoutId id="2147484057" r:id="rId4"/>
    <p:sldLayoutId id="2147484058" r:id="rId5"/>
    <p:sldLayoutId id="2147484059" r:id="rId6"/>
    <p:sldLayoutId id="2147484060" r:id="rId7"/>
    <p:sldLayoutId id="2147484061" r:id="rId8"/>
    <p:sldLayoutId id="2147484063" r:id="rId9"/>
    <p:sldLayoutId id="2147484064" r:id="rId10"/>
    <p:sldLayoutId id="2147484065" r:id="rId11"/>
    <p:sldLayoutId id="2147484066" r:id="rId12"/>
    <p:sldLayoutId id="2147484067" r:id="rId13"/>
    <p:sldLayoutId id="2147484068" r:id="rId14"/>
  </p:sldLayoutIdLst>
  <p:hf sldNum="0" hdr="0" dt="0"/>
  <p:txStyles>
    <p:titleStyle>
      <a:lvl1pPr algn="l" defTabSz="914164" rtl="0" eaLnBrk="1" latinLnBrk="0" hangingPunct="1">
        <a:lnSpc>
          <a:spcPct val="100000"/>
        </a:lnSpc>
        <a:spcBef>
          <a:spcPct val="0"/>
        </a:spcBef>
        <a:buNone/>
        <a:defRPr sz="2000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164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Wingdings" panose="05000000000000000000" pitchFamily="2" charset="2"/>
        <a:buChar char="§"/>
        <a:defRPr lang="en-US" sz="1200" kern="1200" baseline="0" dirty="0">
          <a:solidFill>
            <a:schemeClr val="accent2"/>
          </a:solidFill>
          <a:latin typeface="+mn-lt"/>
          <a:ea typeface="ＭＳ Ｐゴシック" pitchFamily="29" charset="-128"/>
          <a:cs typeface="Times New Roman"/>
        </a:defRPr>
      </a:lvl1pPr>
      <a:lvl2pPr marL="342900" indent="-171450" algn="l" defTabSz="914164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‒"/>
        <a:defRPr lang="en-US" sz="1100" kern="1200" baseline="0" dirty="0" smtClean="0">
          <a:solidFill>
            <a:schemeClr val="accent2"/>
          </a:solidFill>
          <a:latin typeface="+mn-lt"/>
          <a:ea typeface="ＭＳ Ｐゴシック" pitchFamily="29" charset="-128"/>
          <a:cs typeface="Times New Roman"/>
        </a:defRPr>
      </a:lvl2pPr>
      <a:lvl3pPr marL="514350" marR="0" indent="-171450" algn="l" defTabSz="457136" rtl="0" eaLnBrk="1" fontAlgn="base" latinLnBrk="0" hangingPunct="1">
        <a:lnSpc>
          <a:spcPct val="100000"/>
        </a:lnSpc>
        <a:spcBef>
          <a:spcPts val="600"/>
        </a:spcBef>
        <a:spcAft>
          <a:spcPct val="0"/>
        </a:spcAft>
        <a:buClr>
          <a:schemeClr val="accent2"/>
        </a:buClr>
        <a:buSzTx/>
        <a:buFont typeface="Arial" panose="020B0604020202020204" pitchFamily="34" charset="0"/>
        <a:buChar char="•"/>
        <a:tabLst/>
        <a:defRPr lang="en-US" sz="1050" kern="1200" baseline="0" dirty="0" smtClean="0">
          <a:solidFill>
            <a:schemeClr val="accent2"/>
          </a:solidFill>
          <a:latin typeface="+mn-lt"/>
          <a:ea typeface="ＭＳ Ｐゴシック" pitchFamily="29" charset="-128"/>
          <a:cs typeface="Times New Roman"/>
        </a:defRPr>
      </a:lvl3pPr>
      <a:lvl4pPr marL="684213" marR="0" indent="-227013" algn="l" defTabSz="457136" rtl="0" eaLnBrk="1" fontAlgn="base" latinLnBrk="0" hangingPunct="1">
        <a:lnSpc>
          <a:spcPct val="100000"/>
        </a:lnSpc>
        <a:spcBef>
          <a:spcPts val="400"/>
        </a:spcBef>
        <a:spcAft>
          <a:spcPct val="0"/>
        </a:spcAft>
        <a:buClrTx/>
        <a:buSzTx/>
        <a:buFont typeface="Wingdings" pitchFamily="2" charset="2"/>
        <a:buChar char="§"/>
        <a:tabLst/>
        <a:defRPr lang="en-US" sz="1100" kern="1200" baseline="0" dirty="0" smtClean="0">
          <a:solidFill>
            <a:srgbClr val="000000"/>
          </a:solidFill>
          <a:latin typeface="+mn-lt"/>
          <a:ea typeface="ＭＳ Ｐゴシック" pitchFamily="29" charset="-128"/>
          <a:cs typeface="Times New Roman"/>
        </a:defRPr>
      </a:lvl4pPr>
      <a:lvl5pPr marL="912813" indent="-227013" algn="l" defTabSz="914164" rtl="0" eaLnBrk="1" latinLnBrk="0" hangingPunct="1">
        <a:lnSpc>
          <a:spcPct val="100000"/>
        </a:lnSpc>
        <a:spcBef>
          <a:spcPts val="200"/>
        </a:spcBef>
        <a:buClrTx/>
        <a:buFont typeface="Arial" pitchFamily="34" charset="0"/>
        <a:buChar char="•"/>
        <a:defRPr lang="en-US" sz="1300" kern="1200" baseline="0" dirty="0">
          <a:solidFill>
            <a:srgbClr val="000000"/>
          </a:solidFill>
          <a:latin typeface="+mn-lt"/>
          <a:ea typeface="ＭＳ Ｐゴシック" pitchFamily="29" charset="-128"/>
          <a:cs typeface="Times New Roman"/>
        </a:defRPr>
      </a:lvl5pPr>
      <a:lvl6pPr marL="2513952" indent="-228541" algn="l" defTabSz="91416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36" indent="-228541" algn="l" defTabSz="91416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17" indent="-228541" algn="l" defTabSz="91416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199" indent="-228541" algn="l" defTabSz="91416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1" algn="l" defTabSz="914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64" algn="l" defTabSz="914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47" algn="l" defTabSz="914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30" algn="l" defTabSz="914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12" algn="l" defTabSz="914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493" algn="l" defTabSz="914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576" algn="l" defTabSz="914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58" algn="l" defTabSz="914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9.xml"/><Relationship Id="rId4" Type="http://schemas.openxmlformats.org/officeDocument/2006/relationships/image" Target="../media/image5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svg"/><Relationship Id="rId7" Type="http://schemas.openxmlformats.org/officeDocument/2006/relationships/image" Target="../media/image56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0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0.xml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0.xml"/><Relationship Id="rId4" Type="http://schemas.openxmlformats.org/officeDocument/2006/relationships/image" Target="../media/image6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e 7">
            <a:extLst>
              <a:ext uri="{FF2B5EF4-FFF2-40B4-BE49-F238E27FC236}">
                <a16:creationId xmlns:a16="http://schemas.microsoft.com/office/drawing/2014/main" id="{53CA48C7-F9B8-D6F9-C897-CBD1CEBAAC22}"/>
              </a:ext>
            </a:extLst>
          </p:cNvPr>
          <p:cNvSpPr/>
          <p:nvPr/>
        </p:nvSpPr>
        <p:spPr>
          <a:xfrm rot="19800000">
            <a:off x="7353565" y="1708115"/>
            <a:ext cx="7471505" cy="7471505"/>
          </a:xfrm>
          <a:prstGeom prst="pie">
            <a:avLst>
              <a:gd name="adj1" fmla="val 12607553"/>
              <a:gd name="adj2" fmla="val 18015353"/>
            </a:avLst>
          </a:prstGeom>
          <a:solidFill>
            <a:srgbClr val="379CD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F2512DA-5B1A-B0AB-111F-070FA6F0B5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4056" y="1967321"/>
            <a:ext cx="5670337" cy="1606653"/>
          </a:xfrm>
        </p:spPr>
        <p:txBody>
          <a:bodyPr lIns="0" tIns="45720" rIns="0" bIns="45720" anchor="b">
            <a:noAutofit/>
          </a:bodyPr>
          <a:lstStyle/>
          <a:p>
            <a:r>
              <a:rPr lang="en-US" dirty="0"/>
              <a:t>Records Request Management (RRM)</a:t>
            </a:r>
          </a:p>
        </p:txBody>
      </p:sp>
      <p:pic>
        <p:nvPicPr>
          <p:cNvPr id="3" name="Picture Placeholder 2" descr="A person looking at a graph&#10;&#10;Description automatically generated">
            <a:extLst>
              <a:ext uri="{FF2B5EF4-FFF2-40B4-BE49-F238E27FC236}">
                <a16:creationId xmlns:a16="http://schemas.microsoft.com/office/drawing/2014/main" id="{029AF3B4-A053-14B6-FA88-FA8F8882699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t="9681" b="9681"/>
          <a:stretch>
            <a:fillRect/>
          </a:stretch>
        </p:blipFill>
        <p:spPr/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B25ADC9-6BCD-D7F7-702E-90B6F5E0768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1113" y="2415416"/>
            <a:ext cx="3838700" cy="2317116"/>
          </a:xfrm>
          <a:prstGeom prst="rect">
            <a:avLst/>
          </a:prstGeom>
        </p:spPr>
      </p:pic>
      <p:sp>
        <p:nvSpPr>
          <p:cNvPr id="2" name="Subtitle 6">
            <a:extLst>
              <a:ext uri="{FF2B5EF4-FFF2-40B4-BE49-F238E27FC236}">
                <a16:creationId xmlns:a16="http://schemas.microsoft.com/office/drawing/2014/main" id="{2B57E79C-415A-309F-AB0B-B85B530A09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4424" y="4027685"/>
            <a:ext cx="5669969" cy="1030452"/>
          </a:xfrm>
        </p:spPr>
        <p:txBody>
          <a:bodyPr>
            <a:noAutofit/>
          </a:bodyPr>
          <a:lstStyle/>
          <a:p>
            <a:pPr>
              <a:lnSpc>
                <a:spcPct val="120000"/>
              </a:lnSpc>
            </a:pPr>
            <a:r>
              <a:rPr lang="en-US" dirty="0"/>
              <a:t>Purpose-built FOIA case management for government agencies</a:t>
            </a:r>
          </a:p>
          <a:p>
            <a:pPr>
              <a:lnSpc>
                <a:spcPct val="120000"/>
              </a:lnSpc>
            </a:pPr>
            <a:r>
              <a:rPr lang="en-US" dirty="0"/>
              <a:t> </a:t>
            </a:r>
            <a:endParaRPr lang="en-US" sz="1600" dirty="0"/>
          </a:p>
          <a:p>
            <a:pPr>
              <a:lnSpc>
                <a:spcPct val="120000"/>
              </a:lnSpc>
            </a:pPr>
            <a:r>
              <a:rPr lang="en-US" sz="16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5265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541630-F969-186C-7F44-DC240F027E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628449B-45BE-A0C2-FA8C-9D64326267D2}"/>
              </a:ext>
            </a:extLst>
          </p:cNvPr>
          <p:cNvSpPr/>
          <p:nvPr/>
        </p:nvSpPr>
        <p:spPr>
          <a:xfrm>
            <a:off x="0" y="5831092"/>
            <a:ext cx="12192000" cy="10269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14CB09F-6692-710D-4FD5-6FC45C7C8E4D}"/>
              </a:ext>
            </a:extLst>
          </p:cNvPr>
          <p:cNvSpPr txBox="1"/>
          <p:nvPr/>
        </p:nvSpPr>
        <p:spPr>
          <a:xfrm>
            <a:off x="8370324" y="6044464"/>
            <a:ext cx="357012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360 MILL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1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People</a:t>
            </a:r>
            <a:r>
              <a:rPr kumimoji="0" lang="en-US" sz="1300" b="0" i="1" u="none" strike="noStrike" kern="1200" cap="none" spc="0" normalizeH="0" baseline="0" noProof="0">
                <a:ln>
                  <a:noFill/>
                </a:ln>
                <a:solidFill>
                  <a:srgbClr val="36363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in the Granicus subscriber network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A7FC6FD-944A-7A39-6AEA-2CF4261858FD}"/>
              </a:ext>
            </a:extLst>
          </p:cNvPr>
          <p:cNvSpPr txBox="1"/>
          <p:nvPr/>
        </p:nvSpPr>
        <p:spPr>
          <a:xfrm>
            <a:off x="4448286" y="6044464"/>
            <a:ext cx="3465576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30 BILL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1" u="none" strike="noStrike" kern="1200" cap="none" spc="0" normalizeH="0" baseline="0" noProof="0">
                <a:ln>
                  <a:noFill/>
                </a:ln>
                <a:solidFill>
                  <a:srgbClr val="36363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Digital government interactions annuall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8555327-2C47-1A38-F88F-CABF3A281824}"/>
              </a:ext>
            </a:extLst>
          </p:cNvPr>
          <p:cNvSpPr txBox="1"/>
          <p:nvPr/>
        </p:nvSpPr>
        <p:spPr>
          <a:xfrm>
            <a:off x="529339" y="6044464"/>
            <a:ext cx="346248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>
                <a:ln>
                  <a:noFill/>
                </a:ln>
                <a:solidFill>
                  <a:srgbClr val="397AA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7,000+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i="1">
                <a:solidFill>
                  <a:srgbClr val="363636"/>
                </a:solidFill>
                <a:latin typeface="Century Gothic"/>
              </a:rPr>
              <a:t>C</a:t>
            </a:r>
            <a:r>
              <a:rPr kumimoji="0" lang="en-US" sz="1300" b="0" i="1" u="none" strike="noStrike" kern="1200" cap="none" spc="0" normalizeH="0" baseline="0" noProof="0">
                <a:ln>
                  <a:noFill/>
                </a:ln>
                <a:solidFill>
                  <a:srgbClr val="36363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ustomers worldwid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26E09B3-A4D8-1415-88AD-E9204FD10EF4}"/>
              </a:ext>
            </a:extLst>
          </p:cNvPr>
          <p:cNvCxnSpPr>
            <a:cxnSpLocks/>
          </p:cNvCxnSpPr>
          <p:nvPr/>
        </p:nvCxnSpPr>
        <p:spPr>
          <a:xfrm>
            <a:off x="4220055" y="6024506"/>
            <a:ext cx="0" cy="64008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6026733-95F6-86E5-8177-2676DF685C52}"/>
              </a:ext>
            </a:extLst>
          </p:cNvPr>
          <p:cNvCxnSpPr>
            <a:cxnSpLocks/>
          </p:cNvCxnSpPr>
          <p:nvPr/>
        </p:nvCxnSpPr>
        <p:spPr>
          <a:xfrm>
            <a:off x="8142093" y="6024506"/>
            <a:ext cx="0" cy="64008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itle 20">
            <a:extLst>
              <a:ext uri="{FF2B5EF4-FFF2-40B4-BE49-F238E27FC236}">
                <a16:creationId xmlns:a16="http://schemas.microsoft.com/office/drawing/2014/main" id="{0746044B-0662-1148-51B8-78239D6EB4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7619" y="335033"/>
            <a:ext cx="10972800" cy="646331"/>
          </a:xfrm>
        </p:spPr>
        <p:txBody>
          <a:bodyPr/>
          <a:lstStyle/>
          <a:p>
            <a:r>
              <a:rPr lang="en-US" sz="3600"/>
              <a:t>The Leader in Government Experience Solutions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90755EDA-8DAB-7B6F-A4FE-B2448A18080D}"/>
              </a:ext>
            </a:extLst>
          </p:cNvPr>
          <p:cNvSpPr txBox="1">
            <a:spLocks/>
          </p:cNvSpPr>
          <p:nvPr/>
        </p:nvSpPr>
        <p:spPr>
          <a:xfrm>
            <a:off x="406154" y="1208107"/>
            <a:ext cx="11478221" cy="584775"/>
          </a:xfrm>
          <a:prstGeom prst="rect">
            <a:avLst/>
          </a:prstGeom>
        </p:spPr>
        <p:txBody>
          <a:bodyPr vert="horz" wrap="square" lIns="0" tIns="45720" rIns="0" bIns="45720" rtlCol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i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914377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371566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828754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285943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/>
              <a:t>Transforming how people interact with government through seamless digital experiences, </a:t>
            </a:r>
            <a:br>
              <a:rPr lang="en-US" sz="1600"/>
            </a:br>
            <a:r>
              <a:rPr lang="en-US" sz="1600"/>
              <a:t>making public services more accessible, faster, and easier to us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F195987-6B02-A496-25C7-424CE0DEA4CD}"/>
              </a:ext>
            </a:extLst>
          </p:cNvPr>
          <p:cNvSpPr txBox="1"/>
          <p:nvPr/>
        </p:nvSpPr>
        <p:spPr>
          <a:xfrm>
            <a:off x="1131145" y="2505166"/>
            <a:ext cx="475928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chemeClr val="tx2"/>
                </a:solidFill>
              </a:rPr>
              <a:t>Integrated, AI-powered government experience tech platform</a:t>
            </a:r>
            <a:endParaRPr kumimoji="0" lang="en-US" sz="120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B3192BE-0B76-3B5A-0A7C-97223A4EC8D6}"/>
              </a:ext>
            </a:extLst>
          </p:cNvPr>
          <p:cNvCxnSpPr/>
          <p:nvPr/>
        </p:nvCxnSpPr>
        <p:spPr>
          <a:xfrm>
            <a:off x="1233895" y="3086438"/>
            <a:ext cx="503973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40A124C6-9EA9-5BB4-EA87-DA8DE51DDD5A}"/>
              </a:ext>
            </a:extLst>
          </p:cNvPr>
          <p:cNvSpPr txBox="1"/>
          <p:nvPr/>
        </p:nvSpPr>
        <p:spPr>
          <a:xfrm>
            <a:off x="1131145" y="2095632"/>
            <a:ext cx="50128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chemeClr val="accent5"/>
                </a:solidFill>
              </a:rPr>
              <a:t>CONNECTED TECHNOLOGY 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742E337-FC78-5DD9-084A-B5E6ED8887F2}"/>
              </a:ext>
            </a:extLst>
          </p:cNvPr>
          <p:cNvGrpSpPr/>
          <p:nvPr/>
        </p:nvGrpSpPr>
        <p:grpSpPr>
          <a:xfrm>
            <a:off x="1131145" y="4672592"/>
            <a:ext cx="5210019" cy="894657"/>
            <a:chOff x="1131145" y="3066069"/>
            <a:chExt cx="5210019" cy="894657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821C1DB-655C-EF18-8CA0-1EF459E82233}"/>
                </a:ext>
              </a:extLst>
            </p:cNvPr>
            <p:cNvSpPr txBox="1"/>
            <p:nvPr/>
          </p:nvSpPr>
          <p:spPr>
            <a:xfrm>
              <a:off x="1131145" y="3447765"/>
              <a:ext cx="5210019" cy="51296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+mn-ea"/>
                  <a:cs typeface="+mn-cs"/>
                </a:rPr>
                <a:t>Experts providing best practice guidance</a:t>
              </a:r>
            </a:p>
            <a:p>
              <a:pPr marL="285750" indent="-285750">
                <a:spcBef>
                  <a:spcPts val="40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200">
                  <a:solidFill>
                    <a:schemeClr val="tx2"/>
                  </a:solidFill>
                </a:rPr>
                <a:t>Experience Partner focused on overall program outcomes 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6C6CEC7-A384-2E39-2D75-4B835452CB24}"/>
                </a:ext>
              </a:extLst>
            </p:cNvPr>
            <p:cNvSpPr txBox="1"/>
            <p:nvPr/>
          </p:nvSpPr>
          <p:spPr>
            <a:xfrm>
              <a:off x="1131145" y="3066069"/>
              <a:ext cx="501287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>
                  <a:solidFill>
                    <a:schemeClr val="accent5"/>
                  </a:solidFill>
                </a:rPr>
                <a:t>EXPERIENCE</a:t>
              </a:r>
              <a:r>
                <a:rPr lang="en-US">
                  <a:solidFill>
                    <a:schemeClr val="accent5"/>
                  </a:solidFill>
                </a:rPr>
                <a:t> </a:t>
              </a:r>
              <a:r>
                <a:rPr lang="en-US" b="1">
                  <a:solidFill>
                    <a:schemeClr val="accent5"/>
                  </a:solidFill>
                </a:rPr>
                <a:t>SERVICES 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76497B2-7950-AA1E-5CBE-A7C6B1D86154}"/>
              </a:ext>
            </a:extLst>
          </p:cNvPr>
          <p:cNvGrpSpPr/>
          <p:nvPr/>
        </p:nvGrpSpPr>
        <p:grpSpPr>
          <a:xfrm>
            <a:off x="1131145" y="3216811"/>
            <a:ext cx="5142488" cy="1308820"/>
            <a:chOff x="1131145" y="4264818"/>
            <a:chExt cx="5142488" cy="1308820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FCD2AF0-9D4E-2BB2-8E51-CD1810CEEFCB}"/>
                </a:ext>
              </a:extLst>
            </p:cNvPr>
            <p:cNvSpPr txBox="1"/>
            <p:nvPr/>
          </p:nvSpPr>
          <p:spPr>
            <a:xfrm>
              <a:off x="1131145" y="4634150"/>
              <a:ext cx="5142488" cy="9394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1450" indent="-171450">
                <a:lnSpc>
                  <a:spcPct val="110000"/>
                </a:lnSpc>
                <a:buClr>
                  <a:schemeClr val="tx2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200">
                  <a:solidFill>
                    <a:schemeClr val="tx2"/>
                  </a:solidFill>
                </a:rPr>
                <a:t>Sentiment, feedback &amp; gap analysis supported by benchmarks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10000"/>
                </a:lnSpc>
                <a:spcBef>
                  <a:spcPts val="400"/>
                </a:spcBef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200">
                  <a:solidFill>
                    <a:schemeClr val="tx2"/>
                  </a:solidFill>
                </a:rPr>
                <a:t>Detailed customer journey analytics to uncover improvement opportunities</a:t>
              </a: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6939250D-C0F2-69E9-E7D6-77EB69185D45}"/>
                </a:ext>
              </a:extLst>
            </p:cNvPr>
            <p:cNvSpPr txBox="1"/>
            <p:nvPr/>
          </p:nvSpPr>
          <p:spPr>
            <a:xfrm>
              <a:off x="1131145" y="4264818"/>
              <a:ext cx="501287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>
                  <a:solidFill>
                    <a:schemeClr val="accent5"/>
                  </a:solidFill>
                </a:rPr>
                <a:t>DATA-DRIVEN</a:t>
              </a:r>
              <a:r>
                <a:rPr lang="en-US">
                  <a:solidFill>
                    <a:schemeClr val="accent5"/>
                  </a:solidFill>
                </a:rPr>
                <a:t> </a:t>
              </a:r>
              <a:r>
                <a:rPr lang="en-US" b="1">
                  <a:solidFill>
                    <a:schemeClr val="accent5"/>
                  </a:solidFill>
                </a:rPr>
                <a:t>INSIGHTS 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97A138D-FD94-1DC3-BE1A-200C06B0FE19}"/>
              </a:ext>
            </a:extLst>
          </p:cNvPr>
          <p:cNvGrpSpPr/>
          <p:nvPr/>
        </p:nvGrpSpPr>
        <p:grpSpPr>
          <a:xfrm>
            <a:off x="7013021" y="2006254"/>
            <a:ext cx="4569379" cy="3826856"/>
            <a:chOff x="7203515" y="2006254"/>
            <a:chExt cx="4203931" cy="3520793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E7DC3BB-6CCD-01A1-DCF7-3C9096F4478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/>
            <a:stretch/>
          </p:blipFill>
          <p:spPr>
            <a:xfrm>
              <a:off x="7203515" y="2006254"/>
              <a:ext cx="4203931" cy="3520793"/>
            </a:xfrm>
            <a:prstGeom prst="rect">
              <a:avLst/>
            </a:prstGeom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C0F044A-C2A3-F495-ECD1-F9AD747D3FD4}"/>
                </a:ext>
              </a:extLst>
            </p:cNvPr>
            <p:cNvSpPr/>
            <p:nvPr/>
          </p:nvSpPr>
          <p:spPr>
            <a:xfrm>
              <a:off x="7913862" y="2414164"/>
              <a:ext cx="337640" cy="15929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A0C85127-9DA1-F9CD-A67E-82D3A5BF3D17}"/>
                </a:ext>
              </a:extLst>
            </p:cNvPr>
            <p:cNvSpPr txBox="1"/>
            <p:nvPr/>
          </p:nvSpPr>
          <p:spPr>
            <a:xfrm>
              <a:off x="7826129" y="2385890"/>
              <a:ext cx="89249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>
                  <a:solidFill>
                    <a:schemeClr val="accent3"/>
                  </a:solidFill>
                </a:rPr>
                <a:t>500%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ACA519E-F38F-D8C8-CB46-5879EDA8B41A}"/>
                </a:ext>
              </a:extLst>
            </p:cNvPr>
            <p:cNvSpPr/>
            <p:nvPr/>
          </p:nvSpPr>
          <p:spPr>
            <a:xfrm>
              <a:off x="7725032" y="3393498"/>
              <a:ext cx="306095" cy="180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1BAF1509-59C9-CFBF-A245-95B23820CB18}"/>
                </a:ext>
              </a:extLst>
            </p:cNvPr>
            <p:cNvSpPr txBox="1"/>
            <p:nvPr/>
          </p:nvSpPr>
          <p:spPr>
            <a:xfrm>
              <a:off x="7608246" y="3378502"/>
              <a:ext cx="89249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>
                  <a:solidFill>
                    <a:schemeClr val="accent3"/>
                  </a:solidFill>
                </a:rPr>
                <a:t>+58%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6CAA2F0-5DB0-EEC8-70B5-2BB922B6EAF7}"/>
                </a:ext>
              </a:extLst>
            </p:cNvPr>
            <p:cNvSpPr/>
            <p:nvPr/>
          </p:nvSpPr>
          <p:spPr>
            <a:xfrm>
              <a:off x="9611836" y="4338448"/>
              <a:ext cx="300126" cy="13094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B187D9E-3EA6-D9D3-2250-13F27A5D4EA3}"/>
                </a:ext>
              </a:extLst>
            </p:cNvPr>
            <p:cNvSpPr/>
            <p:nvPr/>
          </p:nvSpPr>
          <p:spPr>
            <a:xfrm>
              <a:off x="10005325" y="3114319"/>
              <a:ext cx="216108" cy="1392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BD4CBF5-1C24-7D60-AFE2-1C1C71E9C4A9}"/>
                </a:ext>
              </a:extLst>
            </p:cNvPr>
            <p:cNvSpPr/>
            <p:nvPr/>
          </p:nvSpPr>
          <p:spPr>
            <a:xfrm>
              <a:off x="7858146" y="4992594"/>
              <a:ext cx="336012" cy="11904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1E9DAC8-511F-70FF-BA52-9109C8931651}"/>
                </a:ext>
              </a:extLst>
            </p:cNvPr>
            <p:cNvSpPr txBox="1"/>
            <p:nvPr/>
          </p:nvSpPr>
          <p:spPr>
            <a:xfrm>
              <a:off x="7714573" y="4963380"/>
              <a:ext cx="89249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>
                  <a:solidFill>
                    <a:schemeClr val="accent3"/>
                  </a:solidFill>
                </a:rPr>
                <a:t>+275%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0CAB596-EE88-909E-FEA6-FAF92A258126}"/>
                </a:ext>
              </a:extLst>
            </p:cNvPr>
            <p:cNvSpPr txBox="1"/>
            <p:nvPr/>
          </p:nvSpPr>
          <p:spPr>
            <a:xfrm>
              <a:off x="9489081" y="4312484"/>
              <a:ext cx="89249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>
                  <a:solidFill>
                    <a:schemeClr val="accent3"/>
                  </a:solidFill>
                </a:rPr>
                <a:t>+70%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B0211AB3-46A8-DE04-21A4-7C8834886B4D}"/>
                </a:ext>
              </a:extLst>
            </p:cNvPr>
            <p:cNvSpPr txBox="1"/>
            <p:nvPr/>
          </p:nvSpPr>
          <p:spPr>
            <a:xfrm>
              <a:off x="9895294" y="3053136"/>
              <a:ext cx="89249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>
                  <a:solidFill>
                    <a:schemeClr val="accent3"/>
                  </a:solidFill>
                </a:rPr>
                <a:t>30%</a:t>
              </a:r>
            </a:p>
          </p:txBody>
        </p:sp>
      </p:grp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6214970-3F40-9FE3-9093-B489DB08A979}"/>
              </a:ext>
            </a:extLst>
          </p:cNvPr>
          <p:cNvCxnSpPr/>
          <p:nvPr/>
        </p:nvCxnSpPr>
        <p:spPr>
          <a:xfrm>
            <a:off x="1233895" y="4503997"/>
            <a:ext cx="503973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0752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2386425F-C454-3DFC-E51E-881A6FB80E06}"/>
              </a:ext>
            </a:extLst>
          </p:cNvPr>
          <p:cNvSpPr/>
          <p:nvPr/>
        </p:nvSpPr>
        <p:spPr>
          <a:xfrm>
            <a:off x="0" y="5795500"/>
            <a:ext cx="12192000" cy="1064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D715BFA-8C96-9877-0839-6AD2590C9D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dirty="0"/>
              <a:t>Requester Experience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B0314B59-46AB-AAFC-F463-BD3CAFA7FB32}"/>
              </a:ext>
            </a:extLst>
          </p:cNvPr>
          <p:cNvSpPr txBox="1">
            <a:spLocks/>
          </p:cNvSpPr>
          <p:nvPr/>
        </p:nvSpPr>
        <p:spPr>
          <a:xfrm>
            <a:off x="625366" y="1824816"/>
            <a:ext cx="5788584" cy="342760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228597" indent="-228597" algn="l" defTabSz="91438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90" indent="-228597" algn="l" defTabSz="91438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83" indent="-228597" algn="l" defTabSz="91438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76" indent="-228597" algn="l" defTabSz="91438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69" indent="-228597" algn="l" defTabSz="91438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2" indent="-228597" algn="l" defTabSz="91438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55" indent="-228597" algn="l" defTabSz="91438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49" indent="-228597" algn="l" defTabSz="91438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42" indent="-228597" algn="l" defTabSz="91438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</a:pPr>
            <a:r>
              <a:rPr lang="en-US" sz="1600" b="1" dirty="0">
                <a:solidFill>
                  <a:schemeClr val="accent4"/>
                </a:solidFill>
              </a:rPr>
              <a:t>CLEAR, GUIDED REQEUST SUBMISSION</a:t>
            </a:r>
          </a:p>
          <a:p>
            <a:r>
              <a:rPr lang="en-US" sz="1600" dirty="0"/>
              <a:t>Structured intake that helps requesters submit complete requests without limiting scope</a:t>
            </a:r>
          </a:p>
          <a:p>
            <a:pPr marL="0" indent="0">
              <a:buNone/>
            </a:pPr>
            <a:endParaRPr lang="en-US" sz="1600" dirty="0"/>
          </a:p>
          <a:p>
            <a:pPr marL="0" lvl="0" indent="0">
              <a:buNone/>
            </a:pPr>
            <a:r>
              <a:rPr lang="en-US" sz="1600" b="1" dirty="0">
                <a:solidFill>
                  <a:schemeClr val="accent4"/>
                </a:solidFill>
              </a:rPr>
              <a:t>REAL-TIME VISIBILITY AND COMMUNICATION </a:t>
            </a:r>
          </a:p>
          <a:p>
            <a:r>
              <a:rPr lang="en-US" sz="1600" dirty="0"/>
              <a:t>Status tracking, updates, and secure messaging tied directly to the request</a:t>
            </a:r>
          </a:p>
          <a:p>
            <a:pPr marL="0" indent="0">
              <a:buNone/>
            </a:pPr>
            <a:endParaRPr lang="en-US" sz="1600" dirty="0"/>
          </a:p>
          <a:p>
            <a:pPr marL="0" lvl="0" indent="0">
              <a:buNone/>
            </a:pPr>
            <a:r>
              <a:rPr lang="en-US" sz="1600" b="1" dirty="0">
                <a:solidFill>
                  <a:schemeClr val="accent4"/>
                </a:solidFill>
              </a:rPr>
              <a:t>PROACTIVE DISCLOSURE BY DEFAULT</a:t>
            </a:r>
          </a:p>
          <a:p>
            <a:r>
              <a:rPr lang="en-US" sz="1600" dirty="0"/>
              <a:t>Prior releases and reading‑room content surfaced </a:t>
            </a:r>
            <a:r>
              <a:rPr lang="en-US" sz="1600" i="1" dirty="0"/>
              <a:t>before</a:t>
            </a:r>
            <a:r>
              <a:rPr lang="en-US" sz="1600" dirty="0"/>
              <a:t> submission to reduce unnecessary requests</a:t>
            </a:r>
          </a:p>
        </p:txBody>
      </p:sp>
      <p:sp>
        <p:nvSpPr>
          <p:cNvPr id="4" name="TextBox 2">
            <a:extLst>
              <a:ext uri="{FF2B5EF4-FFF2-40B4-BE49-F238E27FC236}">
                <a16:creationId xmlns:a16="http://schemas.microsoft.com/office/drawing/2014/main" id="{7A4450CC-1ED0-0D2B-6C5B-C96EE14C57D8}"/>
              </a:ext>
            </a:extLst>
          </p:cNvPr>
          <p:cNvSpPr txBox="1"/>
          <p:nvPr/>
        </p:nvSpPr>
        <p:spPr>
          <a:xfrm>
            <a:off x="2580841" y="6121933"/>
            <a:ext cx="8238292" cy="369332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304762"/>
            <a:r>
              <a:rPr lang="en-US" sz="1600">
                <a:solidFill>
                  <a:srgbClr val="363636"/>
                </a:solidFill>
              </a:rPr>
              <a:t>Patented Deflection can reduce request volume by </a:t>
            </a:r>
            <a:r>
              <a:rPr lang="en-US" sz="1600" b="1">
                <a:solidFill>
                  <a:schemeClr val="accent4"/>
                </a:solidFill>
              </a:rPr>
              <a:t>15-20%!</a:t>
            </a:r>
            <a:endParaRPr lang="en-US" sz="1600">
              <a:solidFill>
                <a:schemeClr val="accent4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4A5D836-65AC-6F52-D4A7-4794A6BD260F}"/>
              </a:ext>
            </a:extLst>
          </p:cNvPr>
          <p:cNvSpPr txBox="1"/>
          <p:nvPr/>
        </p:nvSpPr>
        <p:spPr>
          <a:xfrm>
            <a:off x="3062814" y="1032839"/>
            <a:ext cx="6097904" cy="4551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800" i="1" dirty="0"/>
              <a:t>What a better requester experience looks like</a:t>
            </a:r>
            <a:endParaRPr lang="en-US" dirty="0"/>
          </a:p>
        </p:txBody>
      </p:sp>
      <p:pic>
        <p:nvPicPr>
          <p:cNvPr id="17" name="Graphic 16" descr="Arrow: Straight with solid fill">
            <a:extLst>
              <a:ext uri="{FF2B5EF4-FFF2-40B4-BE49-F238E27FC236}">
                <a16:creationId xmlns:a16="http://schemas.microsoft.com/office/drawing/2014/main" id="{EA17DE0F-E7C0-ACDA-F0BF-E530EA98DB2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2916277" y="6001799"/>
            <a:ext cx="609599" cy="6095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9998F9C4-8BB0-FFFB-8898-27254269827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7999" y="2162535"/>
            <a:ext cx="3297540" cy="199046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68363B3C-D64B-F427-F6C8-8346479AE85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86" t="7916" r="14110" b="29196"/>
          <a:stretch/>
        </p:blipFill>
        <p:spPr>
          <a:xfrm>
            <a:off x="9180859" y="1956552"/>
            <a:ext cx="1449359" cy="145993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9" name="Rectangle: Rounded Corners 9">
            <a:extLst>
              <a:ext uri="{FF2B5EF4-FFF2-40B4-BE49-F238E27FC236}">
                <a16:creationId xmlns:a16="http://schemas.microsoft.com/office/drawing/2014/main" id="{50DEF9C8-FD0A-3AA7-3988-2F25242F890F}"/>
              </a:ext>
            </a:extLst>
          </p:cNvPr>
          <p:cNvSpPr/>
          <p:nvPr/>
        </p:nvSpPr>
        <p:spPr>
          <a:xfrm>
            <a:off x="10273882" y="3043611"/>
            <a:ext cx="1422633" cy="754329"/>
          </a:xfrm>
          <a:prstGeom prst="roundRect">
            <a:avLst>
              <a:gd name="adj" fmla="val 0"/>
            </a:avLst>
          </a:pr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316" t="-12728" r="-5892" b="-14493"/>
            </a:stretch>
          </a:blip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0EE25F1-8369-2AFC-0E4F-440AA62B7EF5}"/>
              </a:ext>
            </a:extLst>
          </p:cNvPr>
          <p:cNvSpPr txBox="1"/>
          <p:nvPr/>
        </p:nvSpPr>
        <p:spPr>
          <a:xfrm>
            <a:off x="6607999" y="4621520"/>
            <a:ext cx="499016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i="1" dirty="0"/>
              <a:t>Designed to reduce friction for requesters while preserving the full right to request records</a:t>
            </a:r>
            <a:r>
              <a:rPr lang="en-US" sz="1600" b="1" dirty="0"/>
              <a:t> </a:t>
            </a:r>
            <a:endParaRPr lang="en-US" sz="1600" b="1" i="1" dirty="0"/>
          </a:p>
        </p:txBody>
      </p:sp>
      <p:pic>
        <p:nvPicPr>
          <p:cNvPr id="39" name="Graphic 38" descr="Document outline">
            <a:extLst>
              <a:ext uri="{FF2B5EF4-FFF2-40B4-BE49-F238E27FC236}">
                <a16:creationId xmlns:a16="http://schemas.microsoft.com/office/drawing/2014/main" id="{9C7FFB4F-696B-8513-B0C6-D4F55070B98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002814" y="5960595"/>
            <a:ext cx="436524" cy="43652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DC15173-F7A8-FA97-7EC0-64F713683F63}"/>
              </a:ext>
            </a:extLst>
          </p:cNvPr>
          <p:cNvSpPr/>
          <p:nvPr/>
        </p:nvSpPr>
        <p:spPr>
          <a:xfrm>
            <a:off x="8130746" y="3472249"/>
            <a:ext cx="271849" cy="123567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D3CE8C8-6D62-CEFA-158B-607028380919}"/>
              </a:ext>
            </a:extLst>
          </p:cNvPr>
          <p:cNvCxnSpPr/>
          <p:nvPr/>
        </p:nvCxnSpPr>
        <p:spPr>
          <a:xfrm>
            <a:off x="722907" y="2897735"/>
            <a:ext cx="503973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1AACD99-6BDD-7685-FCD5-EBBDD8480C22}"/>
              </a:ext>
            </a:extLst>
          </p:cNvPr>
          <p:cNvCxnSpPr/>
          <p:nvPr/>
        </p:nvCxnSpPr>
        <p:spPr>
          <a:xfrm>
            <a:off x="722907" y="4164245"/>
            <a:ext cx="503973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22920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1">
            <a:extLst>
              <a:ext uri="{FF2B5EF4-FFF2-40B4-BE49-F238E27FC236}">
                <a16:creationId xmlns:a16="http://schemas.microsoft.com/office/drawing/2014/main" id="{32E6F186-A4E4-9D2F-0ECE-1A1FA1661B15}"/>
              </a:ext>
            </a:extLst>
          </p:cNvPr>
          <p:cNvSpPr txBox="1">
            <a:spLocks/>
          </p:cNvSpPr>
          <p:nvPr/>
        </p:nvSpPr>
        <p:spPr>
          <a:xfrm>
            <a:off x="7830216" y="5752601"/>
            <a:ext cx="3155951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>
                <a:cs typeface="Calibri" panose="020F0502020204030204" pitchFamily="34" charset="0"/>
              </a:rPr>
              <a:t>User Interactions</a:t>
            </a:r>
            <a:endParaRPr lang="en-US" sz="1800" i="1">
              <a:solidFill>
                <a:schemeClr val="accent5"/>
              </a:solidFill>
              <a:cs typeface="Calibri" panose="020F050202020403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94A44C7-70D8-5447-B5BB-7D9501C0DA80}"/>
              </a:ext>
            </a:extLst>
          </p:cNvPr>
          <p:cNvGrpSpPr/>
          <p:nvPr/>
        </p:nvGrpSpPr>
        <p:grpSpPr>
          <a:xfrm>
            <a:off x="7071507" y="4172511"/>
            <a:ext cx="4351658" cy="1220467"/>
            <a:chOff x="7802651" y="3302255"/>
            <a:chExt cx="5915060" cy="1507498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F9E64EC2-3248-AD5B-9F34-C8E4C22D278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t="14703" b="10580"/>
            <a:stretch>
              <a:fillRect/>
            </a:stretch>
          </p:blipFill>
          <p:spPr>
            <a:xfrm>
              <a:off x="7802651" y="3302255"/>
              <a:ext cx="3947205" cy="1507498"/>
            </a:xfrm>
            <a:prstGeom prst="rect">
              <a:avLst/>
            </a:prstGeom>
          </p:spPr>
        </p:pic>
        <p:sp>
          <p:nvSpPr>
            <p:cNvPr id="11" name="TextBox 93">
              <a:extLst>
                <a:ext uri="{FF2B5EF4-FFF2-40B4-BE49-F238E27FC236}">
                  <a16:creationId xmlns:a16="http://schemas.microsoft.com/office/drawing/2014/main" id="{81494DAC-EF51-EA1A-451C-F8980894853D}"/>
                </a:ext>
              </a:extLst>
            </p:cNvPr>
            <p:cNvSpPr txBox="1"/>
            <p:nvPr/>
          </p:nvSpPr>
          <p:spPr>
            <a:xfrm>
              <a:off x="12816992" y="3696823"/>
              <a:ext cx="900719" cy="456192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rgbClr val="55A585"/>
                  </a:solidFill>
                </a:rPr>
                <a:t>64</a:t>
              </a:r>
              <a:r>
                <a:rPr lang="en-US" sz="1800" dirty="0">
                  <a:solidFill>
                    <a:srgbClr val="55A585"/>
                  </a:solidFill>
                </a:rPr>
                <a:t>%</a:t>
              </a:r>
              <a:endParaRPr lang="en-US" dirty="0">
                <a:solidFill>
                  <a:srgbClr val="55A585"/>
                </a:solidFill>
              </a:endParaRPr>
            </a:p>
          </p:txBody>
        </p:sp>
        <p:sp>
          <p:nvSpPr>
            <p:cNvPr id="13" name="Arrow: Up 79">
              <a:extLst>
                <a:ext uri="{FF2B5EF4-FFF2-40B4-BE49-F238E27FC236}">
                  <a16:creationId xmlns:a16="http://schemas.microsoft.com/office/drawing/2014/main" id="{4CD6A036-E08F-A841-FA0F-B223DF6B49B5}"/>
                </a:ext>
              </a:extLst>
            </p:cNvPr>
            <p:cNvSpPr/>
            <p:nvPr/>
          </p:nvSpPr>
          <p:spPr>
            <a:xfrm rot="10800000">
              <a:off x="12450657" y="3749806"/>
              <a:ext cx="247028" cy="350225"/>
            </a:xfrm>
            <a:prstGeom prst="upArrow">
              <a:avLst/>
            </a:prstGeom>
            <a:solidFill>
              <a:srgbClr val="55A585"/>
            </a:solidFill>
            <a:ln>
              <a:solidFill>
                <a:srgbClr val="55A58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2386425F-C454-3DFC-E51E-881A6FB80E06}"/>
              </a:ext>
            </a:extLst>
          </p:cNvPr>
          <p:cNvSpPr/>
          <p:nvPr/>
        </p:nvSpPr>
        <p:spPr>
          <a:xfrm>
            <a:off x="0" y="5795500"/>
            <a:ext cx="12192000" cy="1064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D715BFA-8C96-9877-0839-6AD2590C9D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dirty="0"/>
              <a:t>Agency Experienc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4A5D836-65AC-6F52-D4A7-4794A6BD260F}"/>
              </a:ext>
            </a:extLst>
          </p:cNvPr>
          <p:cNvSpPr txBox="1"/>
          <p:nvPr/>
        </p:nvSpPr>
        <p:spPr>
          <a:xfrm>
            <a:off x="447242" y="835162"/>
            <a:ext cx="11329048" cy="4551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800" i="1" dirty="0"/>
              <a:t>Supporting agencies without undermining transparency</a:t>
            </a:r>
            <a:endParaRPr lang="en-US" i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EE363FE-F0BD-2F30-6434-B58270162FC4}"/>
              </a:ext>
            </a:extLst>
          </p:cNvPr>
          <p:cNvSpPr txBox="1"/>
          <p:nvPr/>
        </p:nvSpPr>
        <p:spPr>
          <a:xfrm>
            <a:off x="581998" y="1719694"/>
            <a:ext cx="5514002" cy="307777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/>
              <a:buChar char="ü"/>
            </a:pPr>
            <a:endParaRPr lang="en-US" sz="1400" dirty="0">
              <a:latin typeface="Century Gothic"/>
              <a:cs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4772D74-99DF-7837-079B-159C747A7AB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9450" y="1693349"/>
            <a:ext cx="3615773" cy="2183643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B5096761-E064-6903-DC8D-BC8B8B762E12}"/>
              </a:ext>
            </a:extLst>
          </p:cNvPr>
          <p:cNvSpPr/>
          <p:nvPr/>
        </p:nvSpPr>
        <p:spPr>
          <a:xfrm>
            <a:off x="8827769" y="1622885"/>
            <a:ext cx="1830649" cy="1778173"/>
          </a:xfrm>
          <a:prstGeom prst="ellipse">
            <a:avLst/>
          </a:pr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60966" t="-43703" r="3446" b="-6321"/>
            </a:stretch>
          </a:blip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4" name="Subtitle 1">
            <a:extLst>
              <a:ext uri="{FF2B5EF4-FFF2-40B4-BE49-F238E27FC236}">
                <a16:creationId xmlns:a16="http://schemas.microsoft.com/office/drawing/2014/main" id="{DD1C9881-5E77-0ABC-AED6-A71AAE3284CD}"/>
              </a:ext>
            </a:extLst>
          </p:cNvPr>
          <p:cNvSpPr txBox="1">
            <a:spLocks/>
          </p:cNvSpPr>
          <p:nvPr/>
        </p:nvSpPr>
        <p:spPr>
          <a:xfrm>
            <a:off x="9182538" y="4905910"/>
            <a:ext cx="3155951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cs typeface="Calibri" panose="020F0502020204030204" pitchFamily="34" charset="0"/>
              </a:rPr>
              <a:t>User Interactions</a:t>
            </a:r>
            <a:endParaRPr lang="en-US" sz="1400" i="1" dirty="0">
              <a:solidFill>
                <a:schemeClr val="accent5"/>
              </a:solidFill>
              <a:cs typeface="Calibri" panose="020F05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4584EAA-397E-B603-8B18-3B789FA5A7C1}"/>
              </a:ext>
            </a:extLst>
          </p:cNvPr>
          <p:cNvSpPr txBox="1"/>
          <p:nvPr/>
        </p:nvSpPr>
        <p:spPr>
          <a:xfrm>
            <a:off x="3295276" y="5987506"/>
            <a:ext cx="6205816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b="1" i="1" dirty="0"/>
              <a:t>Built for defensibility, appeals, audits, and litigation – not just throughput</a:t>
            </a:r>
            <a:endParaRPr lang="en-US" sz="1800" b="1" i="1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5D36AAE-3C72-40E1-6934-0B3527945D1B}"/>
              </a:ext>
            </a:extLst>
          </p:cNvPr>
          <p:cNvSpPr txBox="1"/>
          <p:nvPr/>
        </p:nvSpPr>
        <p:spPr>
          <a:xfrm>
            <a:off x="652185" y="1585218"/>
            <a:ext cx="6477192" cy="42524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spcBef>
                <a:spcPts val="1000"/>
              </a:spcBef>
            </a:pPr>
            <a:r>
              <a:rPr lang="en-US" sz="1600" b="1" dirty="0">
                <a:solidFill>
                  <a:schemeClr val="accent4"/>
                </a:solidFill>
              </a:rPr>
              <a:t>END-TO-END CASE ACCOUNTABILITY</a:t>
            </a:r>
          </a:p>
          <a:p>
            <a:pPr marL="285750" lvl="0" indent="-285750"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Every action tracked across intake, review, redaction, communication, and release</a:t>
            </a:r>
          </a:p>
          <a:p>
            <a:pPr lvl="0">
              <a:spcBef>
                <a:spcPts val="1000"/>
              </a:spcBef>
            </a:pPr>
            <a:r>
              <a:rPr lang="en-US" sz="1600" b="1" dirty="0">
                <a:solidFill>
                  <a:schemeClr val="accent4"/>
                </a:solidFill>
              </a:rPr>
              <a:t>WORKFLOW THAT MIRRORS REAL FOIA OPERATIONS</a:t>
            </a:r>
          </a:p>
          <a:p>
            <a:pPr marL="285750" lvl="0" indent="-285750"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Component‑level routing, statutory deadline tracking, multiple request types</a:t>
            </a:r>
            <a:endParaRPr lang="en-US" sz="1400" b="1" dirty="0"/>
          </a:p>
          <a:p>
            <a:pPr lvl="0">
              <a:spcBef>
                <a:spcPts val="1000"/>
              </a:spcBef>
            </a:pPr>
            <a:r>
              <a:rPr lang="en-US" sz="1600" b="1" dirty="0">
                <a:solidFill>
                  <a:schemeClr val="accent4"/>
                </a:solidFill>
              </a:rPr>
              <a:t>CONSISTENCY ACROSS TEAMS AND OFFICES</a:t>
            </a:r>
          </a:p>
          <a:p>
            <a:pPr marL="285750" lvl="0" indent="-285750"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Standardized processes without forcing one‑size‑fits‑all operations</a:t>
            </a:r>
          </a:p>
          <a:p>
            <a:pPr lvl="0">
              <a:spcBef>
                <a:spcPts val="1000"/>
              </a:spcBef>
            </a:pPr>
            <a:r>
              <a:rPr lang="en-US" sz="1600" b="1" dirty="0">
                <a:solidFill>
                  <a:schemeClr val="accent4"/>
                </a:solidFill>
              </a:rPr>
              <a:t>HUMAN-CENTERED AUTOMATION</a:t>
            </a:r>
          </a:p>
          <a:p>
            <a:pPr marL="285750" lvl="0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1400" dirty="0"/>
              <a:t>Automation for repetitive work; disclosure decisions stay with FOIA professionals</a:t>
            </a:r>
            <a:endParaRPr lang="en-US" sz="1400" dirty="0">
              <a:solidFill>
                <a:srgbClr val="444444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BEC65CD-4608-B20B-958E-B9B09FC4612E}"/>
              </a:ext>
            </a:extLst>
          </p:cNvPr>
          <p:cNvCxnSpPr/>
          <p:nvPr/>
        </p:nvCxnSpPr>
        <p:spPr>
          <a:xfrm>
            <a:off x="775407" y="3647642"/>
            <a:ext cx="503973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731BB41B-5B83-88EF-D22B-DEDBE929CEDA}"/>
              </a:ext>
            </a:extLst>
          </p:cNvPr>
          <p:cNvCxnSpPr/>
          <p:nvPr/>
        </p:nvCxnSpPr>
        <p:spPr>
          <a:xfrm>
            <a:off x="775407" y="2564776"/>
            <a:ext cx="503973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87F6CA7-41C4-40FC-F8FF-12E9B539369F}"/>
              </a:ext>
            </a:extLst>
          </p:cNvPr>
          <p:cNvCxnSpPr/>
          <p:nvPr/>
        </p:nvCxnSpPr>
        <p:spPr>
          <a:xfrm>
            <a:off x="775407" y="4503047"/>
            <a:ext cx="503973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51087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1">
            <a:extLst>
              <a:ext uri="{FF2B5EF4-FFF2-40B4-BE49-F238E27FC236}">
                <a16:creationId xmlns:a16="http://schemas.microsoft.com/office/drawing/2014/main" id="{32E6F186-A4E4-9D2F-0ECE-1A1FA1661B15}"/>
              </a:ext>
            </a:extLst>
          </p:cNvPr>
          <p:cNvSpPr txBox="1">
            <a:spLocks/>
          </p:cNvSpPr>
          <p:nvPr/>
        </p:nvSpPr>
        <p:spPr>
          <a:xfrm>
            <a:off x="7830216" y="5752601"/>
            <a:ext cx="3155951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>
                <a:cs typeface="Calibri" panose="020F0502020204030204" pitchFamily="34" charset="0"/>
              </a:rPr>
              <a:t>User Interactions</a:t>
            </a:r>
            <a:endParaRPr lang="en-US" sz="1800" i="1">
              <a:solidFill>
                <a:schemeClr val="accent5"/>
              </a:solidFill>
              <a:cs typeface="Calibri" panose="020F050202020403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386425F-C454-3DFC-E51E-881A6FB80E06}"/>
              </a:ext>
            </a:extLst>
          </p:cNvPr>
          <p:cNvSpPr/>
          <p:nvPr/>
        </p:nvSpPr>
        <p:spPr>
          <a:xfrm>
            <a:off x="0" y="5679570"/>
            <a:ext cx="12192000" cy="11800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D715BFA-8C96-9877-0839-6AD2590C9D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dirty="0"/>
              <a:t>Why Granicus?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4A5D836-65AC-6F52-D4A7-4794A6BD260F}"/>
              </a:ext>
            </a:extLst>
          </p:cNvPr>
          <p:cNvSpPr txBox="1"/>
          <p:nvPr/>
        </p:nvSpPr>
        <p:spPr>
          <a:xfrm>
            <a:off x="431476" y="950864"/>
            <a:ext cx="1132904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i="1" dirty="0"/>
              <a:t>Federal market readiness underway</a:t>
            </a:r>
            <a:r>
              <a:rPr lang="en-US" i="1" dirty="0"/>
              <a:t> now</a:t>
            </a:r>
            <a:endParaRPr lang="en-US" sz="1800" i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169AD8D-610A-90D9-BF10-6DF2175950B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7433" y="2104329"/>
            <a:ext cx="4210050" cy="2554605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D5A35763-6171-BEA5-237C-C34C6651BFF2}"/>
              </a:ext>
            </a:extLst>
          </p:cNvPr>
          <p:cNvSpPr/>
          <p:nvPr/>
        </p:nvSpPr>
        <p:spPr>
          <a:xfrm>
            <a:off x="9136105" y="1666407"/>
            <a:ext cx="2265780" cy="2265780"/>
          </a:xfrm>
          <a:prstGeom prst="ellipse">
            <a:avLst/>
          </a:prstGeo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1935" t="-1115" r="-23049" b="-331"/>
            </a:stretch>
          </a:blip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80CBB86-DC06-4DBF-7250-EB9F59539004}"/>
              </a:ext>
            </a:extLst>
          </p:cNvPr>
          <p:cNvSpPr txBox="1"/>
          <p:nvPr/>
        </p:nvSpPr>
        <p:spPr>
          <a:xfrm>
            <a:off x="0" y="5871798"/>
            <a:ext cx="2336800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2400" b="1" i="1" dirty="0">
                <a:solidFill>
                  <a:schemeClr val="accent5"/>
                </a:solidFill>
              </a:rPr>
              <a:t>22+ </a:t>
            </a:r>
          </a:p>
          <a:p>
            <a:pPr algn="ctr"/>
            <a:r>
              <a:rPr lang="en-US" sz="1200" i="1" dirty="0">
                <a:solidFill>
                  <a:schemeClr val="accent1"/>
                </a:solidFill>
              </a:rPr>
              <a:t>Full-time implementation specialist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FE0D574-F2CD-8C35-823A-DF7C5FA23433}"/>
              </a:ext>
            </a:extLst>
          </p:cNvPr>
          <p:cNvSpPr txBox="1"/>
          <p:nvPr/>
        </p:nvSpPr>
        <p:spPr>
          <a:xfrm>
            <a:off x="4490171" y="5871798"/>
            <a:ext cx="2336800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2400" b="1" i="1" dirty="0">
                <a:solidFill>
                  <a:schemeClr val="accent4"/>
                </a:solidFill>
              </a:rPr>
              <a:t>900+ </a:t>
            </a:r>
          </a:p>
          <a:p>
            <a:pPr algn="ctr"/>
            <a:r>
              <a:rPr lang="en-US" sz="1200" i="1" dirty="0">
                <a:solidFill>
                  <a:schemeClr val="accent1"/>
                </a:solidFill>
              </a:rPr>
              <a:t>Accounts in all 50 states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E5ECC0C-E0A5-70CE-9465-A4020DC9AECB}"/>
              </a:ext>
            </a:extLst>
          </p:cNvPr>
          <p:cNvSpPr txBox="1"/>
          <p:nvPr/>
        </p:nvSpPr>
        <p:spPr>
          <a:xfrm>
            <a:off x="6485178" y="5871798"/>
            <a:ext cx="2336800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2400" b="1" i="1" dirty="0">
                <a:solidFill>
                  <a:schemeClr val="accent3"/>
                </a:solidFill>
              </a:rPr>
              <a:t>99%</a:t>
            </a:r>
          </a:p>
          <a:p>
            <a:pPr algn="ctr"/>
            <a:r>
              <a:rPr lang="en-US" sz="1200" i="1" dirty="0">
                <a:solidFill>
                  <a:schemeClr val="accent1"/>
                </a:solidFill>
              </a:rPr>
              <a:t>Customer reten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1CDEB48-7AD5-ECEA-63E9-EA89E5A46EFE}"/>
              </a:ext>
            </a:extLst>
          </p:cNvPr>
          <p:cNvSpPr txBox="1"/>
          <p:nvPr/>
        </p:nvSpPr>
        <p:spPr>
          <a:xfrm>
            <a:off x="8492563" y="5871798"/>
            <a:ext cx="2063631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2400" b="1" i="1" dirty="0">
                <a:solidFill>
                  <a:schemeClr val="accent5"/>
                </a:solidFill>
              </a:rPr>
              <a:t>30% </a:t>
            </a:r>
          </a:p>
          <a:p>
            <a:pPr algn="ctr"/>
            <a:r>
              <a:rPr lang="en-US" sz="1200" i="1" dirty="0">
                <a:solidFill>
                  <a:schemeClr val="accent1"/>
                </a:solidFill>
              </a:rPr>
              <a:t>Using GovQA for 10+ year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A4BA267-62C0-685C-A059-5C2B79E2323D}"/>
              </a:ext>
            </a:extLst>
          </p:cNvPr>
          <p:cNvSpPr txBox="1"/>
          <p:nvPr/>
        </p:nvSpPr>
        <p:spPr>
          <a:xfrm>
            <a:off x="2235200" y="5871798"/>
            <a:ext cx="2336800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2400" b="1" i="1" dirty="0">
                <a:solidFill>
                  <a:schemeClr val="accent2"/>
                </a:solidFill>
              </a:rPr>
              <a:t>20 </a:t>
            </a:r>
          </a:p>
          <a:p>
            <a:pPr algn="ctr"/>
            <a:r>
              <a:rPr lang="en-US" sz="1200" i="1" dirty="0">
                <a:solidFill>
                  <a:schemeClr val="accent1"/>
                </a:solidFill>
              </a:rPr>
              <a:t>Years of 100% government focu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B60EAB1-0225-AF25-2980-993AE9CEFBCB}"/>
              </a:ext>
            </a:extLst>
          </p:cNvPr>
          <p:cNvSpPr txBox="1"/>
          <p:nvPr/>
        </p:nvSpPr>
        <p:spPr>
          <a:xfrm>
            <a:off x="10399376" y="5871798"/>
            <a:ext cx="1603555" cy="89255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2400" b="1" i="1" dirty="0">
                <a:solidFill>
                  <a:schemeClr val="accent2"/>
                </a:solidFill>
              </a:rPr>
              <a:t>20M </a:t>
            </a:r>
          </a:p>
          <a:p>
            <a:pPr algn="ctr"/>
            <a:r>
              <a:rPr lang="en-US" sz="1200" i="1" dirty="0">
                <a:solidFill>
                  <a:schemeClr val="accent1"/>
                </a:solidFill>
              </a:rPr>
              <a:t>Record requests served</a:t>
            </a:r>
            <a:r>
              <a:rPr lang="en-US" sz="1400" i="1" dirty="0">
                <a:solidFill>
                  <a:schemeClr val="accent1"/>
                </a:solidFill>
              </a:rPr>
              <a:t> 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B79F656-7E99-422A-370B-7B38A989E510}"/>
              </a:ext>
            </a:extLst>
          </p:cNvPr>
          <p:cNvSpPr txBox="1">
            <a:spLocks/>
          </p:cNvSpPr>
          <p:nvPr/>
        </p:nvSpPr>
        <p:spPr>
          <a:xfrm>
            <a:off x="639453" y="1396181"/>
            <a:ext cx="5788584" cy="4699748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228597" indent="-228597" algn="l" defTabSz="91438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90" indent="-228597" algn="l" defTabSz="91438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83" indent="-228597" algn="l" defTabSz="91438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76" indent="-228597" algn="l" defTabSz="91438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69" indent="-228597" algn="l" defTabSz="91438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2" indent="-228597" algn="l" defTabSz="91438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55" indent="-228597" algn="l" defTabSz="91438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49" indent="-228597" algn="l" defTabSz="91438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42" indent="-228597" algn="l" defTabSz="91438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</a:pPr>
            <a:r>
              <a:rPr lang="en-US" sz="1600" b="1" dirty="0">
                <a:solidFill>
                  <a:schemeClr val="accent2"/>
                </a:solidFill>
              </a:rPr>
              <a:t>PROVEN AT ENTERPRISE SCALE TODAY</a:t>
            </a:r>
          </a:p>
          <a:p>
            <a:pPr>
              <a:spcAft>
                <a:spcPts val="1200"/>
              </a:spcAft>
            </a:pPr>
            <a:r>
              <a:rPr lang="en-US" sz="1600" dirty="0"/>
              <a:t>Operating in complex, high‑volume government records environments</a:t>
            </a:r>
          </a:p>
          <a:p>
            <a:pPr marL="0" lvl="0" indent="0">
              <a:buNone/>
            </a:pPr>
            <a:r>
              <a:rPr lang="en-US" sz="1600" b="1" dirty="0">
                <a:solidFill>
                  <a:schemeClr val="accent2"/>
                </a:solidFill>
              </a:rPr>
              <a:t>DESIGNED FOR TRANSPARENCY OUTCOMES</a:t>
            </a:r>
          </a:p>
          <a:p>
            <a:pPr>
              <a:spcAft>
                <a:spcPts val="1200"/>
              </a:spcAft>
            </a:pPr>
            <a:r>
              <a:rPr lang="en-US" sz="1600" dirty="0"/>
              <a:t>Public‑facing portals, auditability, proactive disclosure baked into the system</a:t>
            </a:r>
          </a:p>
          <a:p>
            <a:pPr marL="0" lvl="0" indent="0">
              <a:buNone/>
            </a:pPr>
            <a:r>
              <a:rPr lang="en-US" sz="1600" b="1" dirty="0">
                <a:solidFill>
                  <a:schemeClr val="accent2"/>
                </a:solidFill>
              </a:rPr>
              <a:t>FEDERAL READINESS UNDERWAY</a:t>
            </a:r>
          </a:p>
          <a:p>
            <a:pPr>
              <a:spcAft>
                <a:spcPts val="1200"/>
              </a:spcAft>
            </a:pPr>
            <a:r>
              <a:rPr lang="en-US" sz="1600" dirty="0"/>
              <a:t>Actively pursuing FedRAMP authorization for Records Request Management</a:t>
            </a:r>
          </a:p>
          <a:p>
            <a:pPr marL="0" lvl="0" indent="0">
              <a:buNone/>
            </a:pPr>
            <a:r>
              <a:rPr lang="en-US" sz="1600" b="1" dirty="0">
                <a:solidFill>
                  <a:schemeClr val="accent2"/>
                </a:solidFill>
              </a:rPr>
              <a:t>BUILT WITH PRACTITIONER INPUT</a:t>
            </a:r>
          </a:p>
          <a:p>
            <a:r>
              <a:rPr lang="en-US" sz="1600" dirty="0"/>
              <a:t>Inviting agencies to shape federal‑ready tooling alongside us</a:t>
            </a:r>
          </a:p>
          <a:p>
            <a:endParaRPr lang="en-US" sz="1200" dirty="0">
              <a:solidFill>
                <a:srgbClr val="444444"/>
              </a:solidFill>
            </a:endParaRPr>
          </a:p>
          <a:p>
            <a:pPr marL="285750" indent="-285750">
              <a:buFont typeface="Wingdings"/>
              <a:buChar char="ü"/>
            </a:pPr>
            <a:endParaRPr lang="en-US" sz="1200" dirty="0">
              <a:cs typeface="Calibri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CC81735-8369-95C7-00DA-4EA966F617DC}"/>
              </a:ext>
            </a:extLst>
          </p:cNvPr>
          <p:cNvCxnSpPr/>
          <p:nvPr/>
        </p:nvCxnSpPr>
        <p:spPr>
          <a:xfrm>
            <a:off x="779928" y="2361576"/>
            <a:ext cx="503973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1D254D5-3032-FD86-E97D-D6DDF52481EC}"/>
              </a:ext>
            </a:extLst>
          </p:cNvPr>
          <p:cNvCxnSpPr/>
          <p:nvPr/>
        </p:nvCxnSpPr>
        <p:spPr>
          <a:xfrm>
            <a:off x="783073" y="3429000"/>
            <a:ext cx="503973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CE9FEB8-9E71-BECC-DAD1-0407CE6370D8}"/>
              </a:ext>
            </a:extLst>
          </p:cNvPr>
          <p:cNvCxnSpPr/>
          <p:nvPr/>
        </p:nvCxnSpPr>
        <p:spPr>
          <a:xfrm>
            <a:off x="779928" y="4495176"/>
            <a:ext cx="503973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51134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AF7F608-E3F8-E46A-10CC-FCF7A265EC4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842378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49.7548828125"/>
  <p:tag name="LEFT" val="110.465751647949"/>
  <p:tag name="TOP" val="350.872528076172"/>
  <p:tag name="WIDTH" val="701.080444335938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49.7548828125"/>
  <p:tag name="LEFT" val="110.465751647949"/>
  <p:tag name="TOP" val="350.872528076172"/>
  <p:tag name="WIDTH" val="701.08044433593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49.7548828125"/>
  <p:tag name="LEFT" val="110.465751647949"/>
  <p:tag name="TOP" val="350.872528076172"/>
  <p:tag name="WIDTH" val="701.08044433593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49.7548828125"/>
  <p:tag name="LEFT" val="110.465751647949"/>
  <p:tag name="TOP" val="350.872528076172"/>
  <p:tag name="WIDTH" val="701.080444335938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21.3204727172852"/>
  <p:tag name="LEFT" val="786.212"/>
  <p:tag name="TOP" val="512.4197"/>
  <p:tag name="WIDTH" val="103.8688964843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2.1171655654907"/>
  <p:tag name="LEFT" val="396.139617919922"/>
  <p:tag name="TOP" val="521.208435058594"/>
  <p:tag name="WIDTH" val="78.256851196289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15.00512"/>
  <p:tag name="TOP" val="512.375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49.75"/>
  <p:tag name="LEFT" val="413.125030517578"/>
  <p:tag name="TOP" val="475.138336181641"/>
  <p:tag name="WIDTH" val="518.62493896484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41.0400009155273"/>
  <p:tag name="TOP" val="23.760000228881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26"/>
  <p:tag name="LEFT" val="810.3203125"/>
  <p:tag name="TOP" val="462.279144287109"/>
  <p:tag name="WIDTH" val="118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37.4999198913574"/>
  <p:tag name="LEFT" val="37.2000007629395"/>
  <p:tag name="TOP" val="61.5000801086426"/>
  <p:tag name="WIDTH" val="885.599975585938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37.4999198913574"/>
  <p:tag name="LEFT" val="37.2000007629395"/>
  <p:tag name="TOP" val="61.5000801086426"/>
  <p:tag name="WIDTH" val="885.599975585938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41.0400009155273"/>
  <p:tag name="TOP" val="23.7600002288818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21.3204727172852"/>
  <p:tag name="LEFT" val="786.212"/>
  <p:tag name="TOP" val="512.4197"/>
  <p:tag name="WIDTH" val="103.86889648437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2.1171655654907"/>
  <p:tag name="LEFT" val="396.139617919922"/>
  <p:tag name="TOP" val="521.208435058594"/>
  <p:tag name="WIDTH" val="78.256851196289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15.00512"/>
  <p:tag name="TOP" val="512.375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2.1171655654907"/>
  <p:tag name="LEFT" val="396.139617919922"/>
  <p:tag name="TOP" val="521.208435058594"/>
  <p:tag name="WIDTH" val="78.256851196289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41.0400009155273"/>
  <p:tag name="TOP" val="23.760000228881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21.3204727172852"/>
  <p:tag name="LEFT" val="786.212"/>
  <p:tag name="TOP" val="512.4197"/>
  <p:tag name="WIDTH" val="103.86889648437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21.3204727172852"/>
  <p:tag name="LEFT" val="786.212"/>
  <p:tag name="TOP" val="512.4197"/>
  <p:tag name="WIDTH" val="103.86889648437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15.00512"/>
  <p:tag name="TOP" val="512.375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49.75"/>
  <p:tag name="LEFT" val="413.125030517578"/>
  <p:tag name="TOP" val="475.138336181641"/>
  <p:tag name="WIDTH" val="518.62493896484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26"/>
  <p:tag name="LEFT" val="810.3203125"/>
  <p:tag name="TOP" val="462.279144287109"/>
  <p:tag name="WIDTH" val="118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49.7548828125"/>
  <p:tag name="LEFT" val="110.465751647949"/>
  <p:tag name="TOP" val="350.872528076172"/>
  <p:tag name="WIDTH" val="701.080444335938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49.7548828125"/>
  <p:tag name="LEFT" val="110.465751647949"/>
  <p:tag name="TOP" val="350.872528076172"/>
  <p:tag name="WIDTH" val="701.080444335938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49.7548828125"/>
  <p:tag name="LEFT" val="110.465751647949"/>
  <p:tag name="TOP" val="350.872528076172"/>
  <p:tag name="WIDTH" val="701.080444335938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49.7548828125"/>
  <p:tag name="LEFT" val="110.465751647949"/>
  <p:tag name="TOP" val="350.872528076172"/>
  <p:tag name="WIDTH" val="701.080444335938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49.7548828125"/>
  <p:tag name="LEFT" val="110.465751647949"/>
  <p:tag name="TOP" val="350.872528076172"/>
  <p:tag name="WIDTH" val="701.080444335938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2.1171655654907"/>
  <p:tag name="LEFT" val="396.139617919922"/>
  <p:tag name="TOP" val="521.208435058594"/>
  <p:tag name="WIDTH" val="78.256851196289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41.0400009155273"/>
  <p:tag name="TOP" val="23.760000228881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21.3204727172852"/>
  <p:tag name="LEFT" val="786.212"/>
  <p:tag name="TOP" val="512.4197"/>
  <p:tag name="WIDTH" val="103.86889648437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2.1171655654907"/>
  <p:tag name="LEFT" val="396.139617919922"/>
  <p:tag name="TOP" val="521.208435058594"/>
  <p:tag name="WIDTH" val="78.256851196289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15.00512"/>
  <p:tag name="TOP" val="512.375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49.7548828125"/>
  <p:tag name="LEFT" val="110.465751647949"/>
  <p:tag name="TOP" val="350.872528076172"/>
  <p:tag name="WIDTH" val="701.080444335938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49.7548828125"/>
  <p:tag name="LEFT" val="110.465751647949"/>
  <p:tag name="TOP" val="350.872528076172"/>
  <p:tag name="WIDTH" val="701.080444335938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49.7548828125"/>
  <p:tag name="LEFT" val="110.465751647949"/>
  <p:tag name="TOP" val="350.872528076172"/>
  <p:tag name="WIDTH" val="701.080444335938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49.7548828125"/>
  <p:tag name="LEFT" val="110.465751647949"/>
  <p:tag name="TOP" val="350.872528076172"/>
  <p:tag name="WIDTH" val="701.08044433593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15.00512"/>
  <p:tag name="TOP" val="512.375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49.7548828125"/>
  <p:tag name="LEFT" val="110.465751647949"/>
  <p:tag name="TOP" val="350.872528076172"/>
  <p:tag name="WIDTH" val="701.080444335938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49.7548828125"/>
  <p:tag name="LEFT" val="110.465751647949"/>
  <p:tag name="TOP" val="350.872528076172"/>
  <p:tag name="WIDTH" val="701.080444335938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49.7548828125"/>
  <p:tag name="LEFT" val="110.465751647949"/>
  <p:tag name="TOP" val="350.872528076172"/>
  <p:tag name="WIDTH" val="701.080444335938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49.7548828125"/>
  <p:tag name="LEFT" val="110.465751647949"/>
  <p:tag name="TOP" val="350.872528076172"/>
  <p:tag name="WIDTH" val="701.080444335938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21.3204727172852"/>
  <p:tag name="LEFT" val="786.212"/>
  <p:tag name="TOP" val="512.4197"/>
  <p:tag name="WIDTH" val="103.86889648437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2.1171655654907"/>
  <p:tag name="LEFT" val="396.139617919922"/>
  <p:tag name="TOP" val="521.208435058594"/>
  <p:tag name="WIDTH" val="78.256851196289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15.00512"/>
  <p:tag name="TOP" val="512.375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49.75"/>
  <p:tag name="LEFT" val="413.125030517578"/>
  <p:tag name="TOP" val="475.138336181641"/>
  <p:tag name="WIDTH" val="518.62493896484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49.7548828125"/>
  <p:tag name="LEFT" val="110.465751647949"/>
  <p:tag name="TOP" val="350.872528076172"/>
  <p:tag name="WIDTH" val="701.080444335938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26"/>
  <p:tag name="LEFT" val="810.3203125"/>
  <p:tag name="TOP" val="462.279144287109"/>
  <p:tag name="WIDTH" val="118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2.1171655654907"/>
  <p:tag name="LEFT" val="396.139617919922"/>
  <p:tag name="TOP" val="521.208435058594"/>
  <p:tag name="WIDTH" val="78.256851196289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41.0400009155273"/>
  <p:tag name="TOP" val="23.7600002288818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21.3204727172852"/>
  <p:tag name="LEFT" val="786.212"/>
  <p:tag name="TOP" val="512.4197"/>
  <p:tag name="WIDTH" val="103.86889648437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15.00512"/>
  <p:tag name="TOP" val="512.375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49.7548828125"/>
  <p:tag name="LEFT" val="110.465751647949"/>
  <p:tag name="TOP" val="350.872528076172"/>
  <p:tag name="WIDTH" val="701.08044433593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49.7548828125"/>
  <p:tag name="LEFT" val="110.465751647949"/>
  <p:tag name="TOP" val="350.872528076172"/>
  <p:tag name="WIDTH" val="701.08044433593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49.7548828125"/>
  <p:tag name="LEFT" val="110.465751647949"/>
  <p:tag name="TOP" val="350.872528076172"/>
  <p:tag name="WIDTH" val="701.080444335938"/>
</p:tagLst>
</file>

<file path=ppt/theme/theme1.xml><?xml version="1.0" encoding="utf-8"?>
<a:theme xmlns:a="http://schemas.openxmlformats.org/drawingml/2006/main" name="3_Office Theme">
  <a:themeElements>
    <a:clrScheme name="2023 Granicus Colors">
      <a:dk1>
        <a:srgbClr val="000000"/>
      </a:dk1>
      <a:lt1>
        <a:srgbClr val="FFFFFF"/>
      </a:lt1>
      <a:dk2>
        <a:srgbClr val="1C1C1C"/>
      </a:dk2>
      <a:lt2>
        <a:srgbClr val="E7E6E6"/>
      </a:lt2>
      <a:accent1>
        <a:srgbClr val="363636"/>
      </a:accent1>
      <a:accent2>
        <a:srgbClr val="D51236"/>
      </a:accent2>
      <a:accent3>
        <a:srgbClr val="EF6957"/>
      </a:accent3>
      <a:accent4>
        <a:srgbClr val="4CA383"/>
      </a:accent4>
      <a:accent5>
        <a:srgbClr val="3879AF"/>
      </a:accent5>
      <a:accent6>
        <a:srgbClr val="EEEEEE"/>
      </a:accent6>
      <a:hlink>
        <a:srgbClr val="D51236"/>
      </a:hlink>
      <a:folHlink>
        <a:srgbClr val="C32F3C"/>
      </a:folHlink>
    </a:clrScheme>
    <a:fontScheme name="Granicus_Century Gothic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MGMT Presentation Template_">
  <a:themeElements>
    <a:clrScheme name="Custom 138">
      <a:dk1>
        <a:srgbClr val="4D4F53"/>
      </a:dk1>
      <a:lt1>
        <a:srgbClr val="FFFFFF"/>
      </a:lt1>
      <a:dk2>
        <a:srgbClr val="004165"/>
      </a:dk2>
      <a:lt2>
        <a:srgbClr val="FFFFFF"/>
      </a:lt2>
      <a:accent1>
        <a:srgbClr val="D51236"/>
      </a:accent1>
      <a:accent2>
        <a:srgbClr val="3778AF"/>
      </a:accent2>
      <a:accent3>
        <a:srgbClr val="A5A5A5"/>
      </a:accent3>
      <a:accent4>
        <a:srgbClr val="EF8472"/>
      </a:accent4>
      <a:accent5>
        <a:srgbClr val="73AD99"/>
      </a:accent5>
      <a:accent6>
        <a:srgbClr val="BECED8"/>
      </a:accent6>
      <a:hlink>
        <a:srgbClr val="000000"/>
      </a:hlink>
      <a:folHlink>
        <a:srgbClr val="000000"/>
      </a:folHlink>
    </a:clrScheme>
    <a:fontScheme name="Custom 80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20000"/>
            <a:lumOff val="80000"/>
          </a:schemeClr>
        </a:solidFill>
        <a:ln>
          <a:noFill/>
        </a:ln>
      </a:spPr>
      <a:bodyPr lIns="45720" tIns="0" rIns="45720" bIns="0" rtlCol="0" anchor="ctr" anchorCtr="0"/>
      <a:lstStyle>
        <a:defPPr algn="ctr">
          <a:defRPr sz="1100" b="1" dirty="0" smtClean="0">
            <a:solidFill>
              <a:schemeClr val="accent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4">
              <a:alpha val="85000"/>
            </a:schemeClr>
          </a:solidFill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28600" indent="-228600">
          <a:buFont typeface="Arial" pitchFamily="34" charset="0"/>
          <a:buChar char="•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P Template_widescreen.potx" id="{365C30BD-7AA8-4C09-96C0-808935E8A2CB}" vid="{9E780B63-56BB-40DF-8E11-4C96ABB0D27C}"/>
    </a:ext>
  </a:extLst>
</a:theme>
</file>

<file path=ppt/theme/theme3.xml><?xml version="1.0" encoding="utf-8"?>
<a:theme xmlns:a="http://schemas.openxmlformats.org/drawingml/2006/main" name="4_MGMT Presentation Template_">
  <a:themeElements>
    <a:clrScheme name="Custom 138">
      <a:dk1>
        <a:srgbClr val="4D4F53"/>
      </a:dk1>
      <a:lt1>
        <a:srgbClr val="FFFFFF"/>
      </a:lt1>
      <a:dk2>
        <a:srgbClr val="004165"/>
      </a:dk2>
      <a:lt2>
        <a:srgbClr val="FFFFFF"/>
      </a:lt2>
      <a:accent1>
        <a:srgbClr val="D51236"/>
      </a:accent1>
      <a:accent2>
        <a:srgbClr val="3778AF"/>
      </a:accent2>
      <a:accent3>
        <a:srgbClr val="A5A5A5"/>
      </a:accent3>
      <a:accent4>
        <a:srgbClr val="EF8472"/>
      </a:accent4>
      <a:accent5>
        <a:srgbClr val="73AD99"/>
      </a:accent5>
      <a:accent6>
        <a:srgbClr val="BECED8"/>
      </a:accent6>
      <a:hlink>
        <a:srgbClr val="000000"/>
      </a:hlink>
      <a:folHlink>
        <a:srgbClr val="000000"/>
      </a:folHlink>
    </a:clrScheme>
    <a:fontScheme name="Custom 80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778AF"/>
        </a:solidFill>
        <a:ln>
          <a:solidFill>
            <a:srgbClr val="D51236"/>
          </a:solidFill>
        </a:ln>
      </a:spPr>
      <a:bodyPr lIns="0" tIns="0" rIns="0" bIns="0" rtlCol="0" anchor="t" anchorCtr="0"/>
      <a:lstStyle>
        <a:defPPr algn="ctr">
          <a:defRPr sz="14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4">
              <a:alpha val="85000"/>
            </a:schemeClr>
          </a:solidFill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28600" indent="-228600">
          <a:buFont typeface="Arial" pitchFamily="34" charset="0"/>
          <a:buChar char="•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P Template_widescreen.potx" id="{365C30BD-7AA8-4C09-96C0-808935E8A2CB}" vid="{9E780B63-56BB-40DF-8E11-4C96ABB0D27C}"/>
    </a:ext>
  </a:extLst>
</a:theme>
</file>

<file path=ppt/theme/theme4.xml><?xml version="1.0" encoding="utf-8"?>
<a:theme xmlns:a="http://schemas.openxmlformats.org/drawingml/2006/main" name="1_Office Theme">
  <a:themeElements>
    <a:clrScheme name="Custom 1">
      <a:dk1>
        <a:srgbClr val="000000"/>
      </a:dk1>
      <a:lt1>
        <a:srgbClr val="FFFFFF"/>
      </a:lt1>
      <a:dk2>
        <a:srgbClr val="1C1C1C"/>
      </a:dk2>
      <a:lt2>
        <a:srgbClr val="E7E6E6"/>
      </a:lt2>
      <a:accent1>
        <a:srgbClr val="363636"/>
      </a:accent1>
      <a:accent2>
        <a:srgbClr val="D31F37"/>
      </a:accent2>
      <a:accent3>
        <a:srgbClr val="EF6957"/>
      </a:accent3>
      <a:accent4>
        <a:srgbClr val="4CA383"/>
      </a:accent4>
      <a:accent5>
        <a:srgbClr val="3879AF"/>
      </a:accent5>
      <a:accent6>
        <a:srgbClr val="EEEEEE"/>
      </a:accent6>
      <a:hlink>
        <a:srgbClr val="D51236"/>
      </a:hlink>
      <a:folHlink>
        <a:srgbClr val="C32F3C"/>
      </a:folHlink>
    </a:clrScheme>
    <a:fontScheme name="Granicus_Century Gothic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MGMT Presentation Template_">
  <a:themeElements>
    <a:clrScheme name="Custom 138">
      <a:dk1>
        <a:srgbClr val="4D4F53"/>
      </a:dk1>
      <a:lt1>
        <a:srgbClr val="FFFFFF"/>
      </a:lt1>
      <a:dk2>
        <a:srgbClr val="004165"/>
      </a:dk2>
      <a:lt2>
        <a:srgbClr val="FFFFFF"/>
      </a:lt2>
      <a:accent1>
        <a:srgbClr val="D51236"/>
      </a:accent1>
      <a:accent2>
        <a:srgbClr val="3778AF"/>
      </a:accent2>
      <a:accent3>
        <a:srgbClr val="A5A5A5"/>
      </a:accent3>
      <a:accent4>
        <a:srgbClr val="EF8472"/>
      </a:accent4>
      <a:accent5>
        <a:srgbClr val="73AD99"/>
      </a:accent5>
      <a:accent6>
        <a:srgbClr val="BECED8"/>
      </a:accent6>
      <a:hlink>
        <a:srgbClr val="000000"/>
      </a:hlink>
      <a:folHlink>
        <a:srgbClr val="000000"/>
      </a:folHlink>
    </a:clrScheme>
    <a:fontScheme name="Custom 80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20000"/>
            <a:lumOff val="80000"/>
          </a:schemeClr>
        </a:solidFill>
        <a:ln>
          <a:noFill/>
        </a:ln>
      </a:spPr>
      <a:bodyPr lIns="45720" tIns="0" rIns="45720" bIns="0" rtlCol="0" anchor="ctr" anchorCtr="0"/>
      <a:lstStyle>
        <a:defPPr algn="ctr">
          <a:defRPr sz="1100" b="1" dirty="0" smtClean="0">
            <a:solidFill>
              <a:schemeClr val="accent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4">
              <a:alpha val="85000"/>
            </a:schemeClr>
          </a:solidFill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28600" indent="-228600">
          <a:buFont typeface="Arial" pitchFamily="34" charset="0"/>
          <a:buChar char="•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P Template_widescreen.potx" id="{365C30BD-7AA8-4C09-96C0-808935E8A2CB}" vid="{9E780B63-56BB-40DF-8E11-4C96ABB0D27C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58</TotalTime>
  <Words>403</Words>
  <Application>Microsoft Macintosh PowerPoint</Application>
  <PresentationFormat>Widescreen</PresentationFormat>
  <Paragraphs>81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2" baseType="lpstr">
      <vt:lpstr>Aptos</vt:lpstr>
      <vt:lpstr>Arial</vt:lpstr>
      <vt:lpstr>Calibri</vt:lpstr>
      <vt:lpstr>Century Gothic</vt:lpstr>
      <vt:lpstr>Courier New</vt:lpstr>
      <vt:lpstr>Georgia</vt:lpstr>
      <vt:lpstr>Open Sans</vt:lpstr>
      <vt:lpstr>Roboto</vt:lpstr>
      <vt:lpstr>Times New Roman</vt:lpstr>
      <vt:lpstr>Wingdings</vt:lpstr>
      <vt:lpstr>3_Office Theme</vt:lpstr>
      <vt:lpstr>3_MGMT Presentation Template_</vt:lpstr>
      <vt:lpstr>4_MGMT Presentation Template_</vt:lpstr>
      <vt:lpstr>1_Office Theme</vt:lpstr>
      <vt:lpstr>5_MGMT Presentation Template_</vt:lpstr>
      <vt:lpstr>think-cell Slide</vt:lpstr>
      <vt:lpstr>Records Request Management (RRM)</vt:lpstr>
      <vt:lpstr>The Leader in Government Experience Solutions</vt:lpstr>
      <vt:lpstr>Requester Experience</vt:lpstr>
      <vt:lpstr>Agency Experience</vt:lpstr>
      <vt:lpstr>Why Granicus?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 First Service Transformation Powering Vibrant and Thriving Communities</dc:title>
  <dc:creator>Suzanne Behrens</dc:creator>
  <cp:lastModifiedBy>Kate Alley</cp:lastModifiedBy>
  <cp:revision>6</cp:revision>
  <cp:lastPrinted>2026-01-21T23:56:58Z</cp:lastPrinted>
  <dcterms:created xsi:type="dcterms:W3CDTF">2025-10-24T16:34:04Z</dcterms:created>
  <dcterms:modified xsi:type="dcterms:W3CDTF">2026-03-16T01:45:39Z</dcterms:modified>
</cp:coreProperties>
</file>